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3.xml" ContentType="application/vnd.openxmlformats-officedocument.presentationml.tags+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4.xml" ContentType="application/vnd.openxmlformats-officedocument.presentationml.tags+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1" r:id="rId26"/>
    <p:sldMasterId id="2147483858" r:id="rId27"/>
    <p:sldMasterId id="2147483903" r:id="rId28"/>
  </p:sldMasterIdLst>
  <p:notesMasterIdLst>
    <p:notesMasterId r:id="rId43"/>
  </p:notesMasterIdLst>
  <p:sldIdLst>
    <p:sldId id="256" r:id="rId29"/>
    <p:sldId id="2103813175" r:id="rId30"/>
    <p:sldId id="530" r:id="rId31"/>
    <p:sldId id="531" r:id="rId32"/>
    <p:sldId id="1344" r:id="rId33"/>
    <p:sldId id="2103813176" r:id="rId34"/>
    <p:sldId id="1350" r:id="rId35"/>
    <p:sldId id="270" r:id="rId36"/>
    <p:sldId id="527" r:id="rId37"/>
    <p:sldId id="526" r:id="rId38"/>
    <p:sldId id="271" r:id="rId39"/>
    <p:sldId id="273" r:id="rId40"/>
    <p:sldId id="529" r:id="rId41"/>
    <p:sldId id="274" r:id="rId42"/>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7" d="100"/>
          <a:sy n="77" d="100"/>
        </p:scale>
        <p:origin x="22" y="4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Master" Target="slideMasters/slideMaster1.xml"/><Relationship Id="rId39" Type="http://schemas.openxmlformats.org/officeDocument/2006/relationships/slide" Target="slides/slide11.xml"/><Relationship Id="rId21" Type="http://schemas.openxmlformats.org/officeDocument/2006/relationships/customXml" Target="../customXml/item21.xml"/><Relationship Id="rId34" Type="http://schemas.openxmlformats.org/officeDocument/2006/relationships/slide" Target="slides/slide6.xml"/><Relationship Id="rId42" Type="http://schemas.openxmlformats.org/officeDocument/2006/relationships/slide" Target="slides/slide14.xml"/><Relationship Id="rId47"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 Target="slides/slide4.xml"/><Relationship Id="rId37" Type="http://schemas.openxmlformats.org/officeDocument/2006/relationships/slide" Target="slides/slide9.xml"/><Relationship Id="rId40" Type="http://schemas.openxmlformats.org/officeDocument/2006/relationships/slide" Target="slides/slide12.xml"/><Relationship Id="rId45"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Master" Target="slideMasters/slideMaster3.xml"/><Relationship Id="rId36" Type="http://schemas.openxmlformats.org/officeDocument/2006/relationships/slide" Target="slides/slide8.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3.xml"/><Relationship Id="rId44"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Master" Target="slideMasters/slideMaster2.xml"/><Relationship Id="rId30" Type="http://schemas.openxmlformats.org/officeDocument/2006/relationships/slide" Target="slides/slide2.xml"/><Relationship Id="rId35" Type="http://schemas.openxmlformats.org/officeDocument/2006/relationships/slide" Target="slides/slide7.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 Target="slides/slide5.xml"/><Relationship Id="rId38" Type="http://schemas.openxmlformats.org/officeDocument/2006/relationships/slide" Target="slides/slide10.xml"/><Relationship Id="rId46" Type="http://schemas.openxmlformats.org/officeDocument/2006/relationships/viewProps" Target="viewProps.xml"/><Relationship Id="rId20" Type="http://schemas.openxmlformats.org/officeDocument/2006/relationships/customXml" Target="../customXml/item20.xml"/><Relationship Id="rId41"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2" qsCatId="simple" csTypeId="urn:microsoft.com/office/officeart/2005/8/colors/colorful2" csCatId="colorful" phldr="1"/>
      <dgm:spPr/>
      <dgm:t>
        <a:bodyPr/>
        <a:lstStyle/>
        <a:p>
          <a:endParaRPr lang="en-US"/>
        </a:p>
      </dgm:t>
    </dgm:pt>
    <dgm:pt modelId="{47626793-9F14-4DFF-BA65-95C1406ADCDF}">
      <dgm:prSet custT="1"/>
      <dgm:spPr/>
      <dgm:t>
        <a:bodyPr/>
        <a:lstStyle/>
        <a:p>
          <a:pPr algn="ctr"/>
          <a:r>
            <a:rPr lang="en-US" sz="2000" dirty="0"/>
            <a:t>Module 2: SQL Server I/O and Database Structure</a:t>
          </a:r>
        </a:p>
      </dgm:t>
    </dgm:pt>
    <dgm:pt modelId="{6AC79812-601E-4B18-B07E-A51D54B40154}" type="parTrans" cxnId="{F7D77D97-A756-4EE2-B7DC-A3225CB4D663}">
      <dgm:prSet/>
      <dgm:spPr/>
      <dgm:t>
        <a:bodyPr/>
        <a:lstStyle/>
        <a:p>
          <a:endParaRPr lang="en-US"/>
        </a:p>
      </dgm:t>
    </dgm:pt>
    <dgm:pt modelId="{7F1B9493-5C6E-409F-AA74-9B30B0A9FD56}" type="sibTrans" cxnId="{F7D77D97-A756-4EE2-B7DC-A3225CB4D663}">
      <dgm:prSet/>
      <dgm:spPr/>
      <dgm:t>
        <a:bodyPr/>
        <a:lstStyle/>
        <a:p>
          <a:endParaRPr lang="en-US"/>
        </a:p>
      </dgm:t>
    </dgm:pt>
    <dgm:pt modelId="{59F6C864-5B9B-42D8-884B-5F97D3D41565}">
      <dgm:prSet custT="1"/>
      <dgm:spPr/>
      <dgm:t>
        <a:bodyPr/>
        <a:lstStyle/>
        <a:p>
          <a:r>
            <a:rPr lang="en-US" sz="2000" dirty="0"/>
            <a:t>SQL OS</a:t>
          </a:r>
        </a:p>
      </dgm:t>
    </dgm:pt>
    <dgm:pt modelId="{61A9F81F-8313-46A9-AF91-BDC685FB7939}" type="parTrans" cxnId="{D86ECE88-9FBD-4B8D-B598-EAFD48F331D5}">
      <dgm:prSet/>
      <dgm:spPr/>
      <dgm:t>
        <a:bodyPr/>
        <a:lstStyle/>
        <a:p>
          <a:endParaRPr lang="en-US"/>
        </a:p>
      </dgm:t>
    </dgm:pt>
    <dgm:pt modelId="{FAEEAAFD-10E4-4D31-9E09-AC9960366E1C}" type="sibTrans" cxnId="{D86ECE88-9FBD-4B8D-B598-EAFD48F331D5}">
      <dgm:prSet/>
      <dgm:spPr/>
      <dgm:t>
        <a:bodyPr/>
        <a:lstStyle/>
        <a:p>
          <a:endParaRPr lang="en-US"/>
        </a:p>
      </dgm:t>
    </dgm:pt>
    <dgm:pt modelId="{3115880A-D643-408E-B58A-41EB57EA7475}">
      <dgm:prSet custT="1"/>
      <dgm:spPr/>
      <dgm:t>
        <a:bodyPr/>
        <a:lstStyle/>
        <a:p>
          <a:r>
            <a:rPr lang="en-US" sz="2000" dirty="0"/>
            <a:t>Task Scheduling</a:t>
          </a:r>
        </a:p>
      </dgm:t>
    </dgm:pt>
    <dgm:pt modelId="{B3B8722B-11AD-409F-8FC9-85588870BC09}" type="parTrans" cxnId="{8798053C-D903-488D-B846-61AF881457E0}">
      <dgm:prSet/>
      <dgm:spPr/>
      <dgm:t>
        <a:bodyPr/>
        <a:lstStyle/>
        <a:p>
          <a:endParaRPr lang="en-US"/>
        </a:p>
      </dgm:t>
    </dgm:pt>
    <dgm:pt modelId="{1482643A-BE84-48D5-A253-8280707E34A8}" type="sibTrans" cxnId="{8798053C-D903-488D-B846-61AF881457E0}">
      <dgm:prSet/>
      <dgm:spPr/>
      <dgm:t>
        <a:bodyPr/>
        <a:lstStyle/>
        <a:p>
          <a:endParaRPr lang="en-US"/>
        </a:p>
      </dgm:t>
    </dgm:pt>
    <dgm:pt modelId="{4DE331D4-65B5-4482-87BB-F2C83FF63B15}">
      <dgm:prSet custT="1"/>
      <dgm:spPr/>
      <dgm:t>
        <a:bodyPr/>
        <a:lstStyle/>
        <a:p>
          <a:r>
            <a:rPr lang="en-US" sz="2000" dirty="0"/>
            <a:t>Waits and Queues</a:t>
          </a:r>
        </a:p>
      </dgm:t>
    </dgm:pt>
    <dgm:pt modelId="{7D6A6022-527A-4418-8A18-56A5B0EA3107}" type="parTrans" cxnId="{AB362543-AEDE-4D49-A64E-C28B2B54885B}">
      <dgm:prSet/>
      <dgm:spPr/>
      <dgm:t>
        <a:bodyPr/>
        <a:lstStyle/>
        <a:p>
          <a:endParaRPr lang="en-US"/>
        </a:p>
      </dgm:t>
    </dgm:pt>
    <dgm:pt modelId="{04B154D8-6E13-4E6B-8913-5E6E28066FAA}" type="sibTrans" cxnId="{AB362543-AEDE-4D49-A64E-C28B2B54885B}">
      <dgm:prSet/>
      <dgm:spPr/>
      <dgm:t>
        <a:bodyPr/>
        <a:lstStyle/>
        <a:p>
          <a:endParaRPr lang="en-US"/>
        </a:p>
      </dgm:t>
    </dgm:pt>
    <dgm:pt modelId="{C5C24088-4C84-4863-A3CA-8E813D94301A}">
      <dgm:prSet custT="1"/>
      <dgm:spPr/>
      <dgm:t>
        <a:bodyPr/>
        <a:lstStyle/>
        <a:p>
          <a:pPr algn="ctr"/>
          <a:r>
            <a:rPr lang="en-US" sz="2000" dirty="0"/>
            <a:t>Disk I/O</a:t>
          </a:r>
        </a:p>
      </dgm:t>
    </dgm:pt>
    <dgm:pt modelId="{13F78EC1-2DA1-4482-815A-493014FD96F0}" type="parTrans" cxnId="{934AF581-53D8-4DAC-B3BD-A7B0A0760FFA}">
      <dgm:prSet/>
      <dgm:spPr/>
      <dgm:t>
        <a:bodyPr/>
        <a:lstStyle/>
        <a:p>
          <a:endParaRPr lang="en-US"/>
        </a:p>
      </dgm:t>
    </dgm:pt>
    <dgm:pt modelId="{75BCE02A-0ABB-4612-B022-47B06B2F10F9}" type="sibTrans" cxnId="{934AF581-53D8-4DAC-B3BD-A7B0A0760FFA}">
      <dgm:prSet/>
      <dgm:spPr/>
      <dgm:t>
        <a:bodyPr/>
        <a:lstStyle/>
        <a:p>
          <a:endParaRPr lang="en-US"/>
        </a:p>
      </dgm:t>
    </dgm:pt>
    <dgm:pt modelId="{339F4B6A-2D28-4236-BBF0-E41FC90536D5}">
      <dgm:prSet custT="1"/>
      <dgm:spPr/>
      <dgm:t>
        <a:bodyPr/>
        <a:lstStyle/>
        <a:p>
          <a:pPr algn="ctr"/>
          <a:r>
            <a:rPr lang="en-US" sz="2000" dirty="0"/>
            <a:t>Page Structure</a:t>
          </a:r>
        </a:p>
      </dgm:t>
    </dgm:pt>
    <dgm:pt modelId="{E74D8455-F5CE-490B-8DC3-004FB37D5B79}" type="parTrans" cxnId="{5098E945-2E4A-4ADD-9E46-2FB96804F033}">
      <dgm:prSet/>
      <dgm:spPr/>
      <dgm:t>
        <a:bodyPr/>
        <a:lstStyle/>
        <a:p>
          <a:endParaRPr lang="en-US"/>
        </a:p>
      </dgm:t>
    </dgm:pt>
    <dgm:pt modelId="{363C33AD-22D4-43F9-B307-04F297FEBF2E}" type="sibTrans" cxnId="{5098E945-2E4A-4ADD-9E46-2FB96804F033}">
      <dgm:prSet/>
      <dgm:spPr/>
      <dgm:t>
        <a:bodyPr/>
        <a:lstStyle/>
        <a:p>
          <a:endParaRPr lang="en-US"/>
        </a:p>
      </dgm:t>
    </dgm:pt>
    <dgm:pt modelId="{58B69A5A-EE80-49EE-A0AA-83849820926B}">
      <dgm:prSet custT="1"/>
      <dgm:spPr/>
      <dgm:t>
        <a:bodyPr/>
        <a:lstStyle/>
        <a:p>
          <a:pPr algn="ctr"/>
          <a:r>
            <a:rPr lang="en-US" sz="2000" dirty="0"/>
            <a:t>Data File Structure</a:t>
          </a:r>
        </a:p>
      </dgm:t>
    </dgm:pt>
    <dgm:pt modelId="{C961843D-3F8C-4D12-B4BE-05233B127FFD}" type="parTrans" cxnId="{5CF5749C-B986-4C9A-8D13-5BBC78854BD2}">
      <dgm:prSet/>
      <dgm:spPr/>
      <dgm:t>
        <a:bodyPr/>
        <a:lstStyle/>
        <a:p>
          <a:endParaRPr lang="en-US"/>
        </a:p>
      </dgm:t>
    </dgm:pt>
    <dgm:pt modelId="{D01D64C4-1CCF-4E20-A5E8-396BADCB11DA}" type="sibTrans" cxnId="{5CF5749C-B986-4C9A-8D13-5BBC78854BD2}">
      <dgm:prSet/>
      <dgm:spPr/>
      <dgm:t>
        <a:bodyPr/>
        <a:lstStyle/>
        <a:p>
          <a:endParaRPr lang="en-US"/>
        </a:p>
      </dgm:t>
    </dgm:pt>
    <dgm:pt modelId="{536E8374-BBB8-40BB-ACBD-22E490121568}">
      <dgm:prSet custT="1"/>
      <dgm:spPr/>
      <dgm:t>
        <a:bodyPr/>
        <a:lstStyle/>
        <a:p>
          <a:r>
            <a:rPr lang="en-US" sz="2000" dirty="0"/>
            <a:t>Module 1: SQL Server Architecture, Scheduling and Waits</a:t>
          </a:r>
        </a:p>
      </dgm:t>
    </dgm:pt>
    <dgm:pt modelId="{46BC945B-9D04-47F7-8FCB-0B9C69EF93ED}" type="parTrans" cxnId="{58207300-1ADD-40A0-96F5-F59F0C27B3E2}">
      <dgm:prSet/>
      <dgm:spPr/>
      <dgm:t>
        <a:bodyPr/>
        <a:lstStyle/>
        <a:p>
          <a:endParaRPr lang="en-US"/>
        </a:p>
      </dgm:t>
    </dgm:pt>
    <dgm:pt modelId="{498D443E-B527-4599-8CF9-E9DC179B3CE3}" type="sibTrans" cxnId="{58207300-1ADD-40A0-96F5-F59F0C27B3E2}">
      <dgm:prSet/>
      <dgm:spPr/>
      <dgm:t>
        <a:bodyPr/>
        <a:lstStyle/>
        <a:p>
          <a:endParaRPr lang="en-US"/>
        </a:p>
      </dgm:t>
    </dgm:pt>
    <dgm:pt modelId="{CFE01A38-B983-458F-BAF1-A25235FBEF65}" type="pres">
      <dgm:prSet presAssocID="{01E1DF0C-A459-49AA-8F8D-34E69D8DBE3E}" presName="Name0" presStyleCnt="0">
        <dgm:presLayoutVars>
          <dgm:dir/>
          <dgm:animLvl val="lvl"/>
          <dgm:resizeHandles val="exact"/>
        </dgm:presLayoutVars>
      </dgm:prSet>
      <dgm:spPr/>
    </dgm:pt>
    <dgm:pt modelId="{EB272D11-D7C1-481B-8C09-D9093500CB93}" type="pres">
      <dgm:prSet presAssocID="{536E8374-BBB8-40BB-ACBD-22E490121568}" presName="vertFlow" presStyleCnt="0"/>
      <dgm:spPr/>
    </dgm:pt>
    <dgm:pt modelId="{79687A28-7933-40FE-B90E-1BF426CEEBE9}" type="pres">
      <dgm:prSet presAssocID="{536E8374-BBB8-40BB-ACBD-22E490121568}" presName="header" presStyleLbl="node1" presStyleIdx="0" presStyleCnt="2"/>
      <dgm:spPr/>
    </dgm:pt>
    <dgm:pt modelId="{0024E3D4-969F-4562-B6F1-432DAB602984}" type="pres">
      <dgm:prSet presAssocID="{61A9F81F-8313-46A9-AF91-BDC685FB7939}" presName="parTrans" presStyleLbl="sibTrans2D1" presStyleIdx="0" presStyleCnt="6"/>
      <dgm:spPr/>
    </dgm:pt>
    <dgm:pt modelId="{A7104F3A-6625-4D19-A900-803AF04F48D1}" type="pres">
      <dgm:prSet presAssocID="{59F6C864-5B9B-42D8-884B-5F97D3D41565}" presName="child" presStyleLbl="alignAccFollowNode1" presStyleIdx="0" presStyleCnt="6">
        <dgm:presLayoutVars>
          <dgm:chMax val="0"/>
          <dgm:bulletEnabled val="1"/>
        </dgm:presLayoutVars>
      </dgm:prSet>
      <dgm:spPr/>
    </dgm:pt>
    <dgm:pt modelId="{B668CADA-40A7-4DA8-8557-13CA6A501E83}" type="pres">
      <dgm:prSet presAssocID="{FAEEAAFD-10E4-4D31-9E09-AC9960366E1C}" presName="sibTrans" presStyleLbl="sibTrans2D1" presStyleIdx="1" presStyleCnt="6"/>
      <dgm:spPr/>
    </dgm:pt>
    <dgm:pt modelId="{6C862942-8E9E-4614-BCDD-E72C2B17EBC3}" type="pres">
      <dgm:prSet presAssocID="{3115880A-D643-408E-B58A-41EB57EA7475}" presName="child" presStyleLbl="alignAccFollowNode1" presStyleIdx="1" presStyleCnt="6">
        <dgm:presLayoutVars>
          <dgm:chMax val="0"/>
          <dgm:bulletEnabled val="1"/>
        </dgm:presLayoutVars>
      </dgm:prSet>
      <dgm:spPr/>
    </dgm:pt>
    <dgm:pt modelId="{9FB22010-0258-42A6-A13A-6BCC5A2768D8}" type="pres">
      <dgm:prSet presAssocID="{1482643A-BE84-48D5-A253-8280707E34A8}" presName="sibTrans" presStyleLbl="sibTrans2D1" presStyleIdx="2" presStyleCnt="6"/>
      <dgm:spPr/>
    </dgm:pt>
    <dgm:pt modelId="{106C2846-DE02-40A4-A05F-80CAD2B38434}" type="pres">
      <dgm:prSet presAssocID="{4DE331D4-65B5-4482-87BB-F2C83FF63B15}" presName="child" presStyleLbl="alignAccFollowNode1" presStyleIdx="2" presStyleCnt="6">
        <dgm:presLayoutVars>
          <dgm:chMax val="0"/>
          <dgm:bulletEnabled val="1"/>
        </dgm:presLayoutVars>
      </dgm:prSet>
      <dgm:spPr/>
    </dgm:pt>
    <dgm:pt modelId="{95B22F37-6AC0-46B3-ACF8-DBF2D0537320}" type="pres">
      <dgm:prSet presAssocID="{536E8374-BBB8-40BB-ACBD-22E490121568}" presName="hSp" presStyleCnt="0"/>
      <dgm:spPr/>
    </dgm:pt>
    <dgm:pt modelId="{F826936E-D9CB-404C-8DF4-5BBDA9D9C9DC}" type="pres">
      <dgm:prSet presAssocID="{47626793-9F14-4DFF-BA65-95C1406ADCDF}" presName="vertFlow" presStyleCnt="0"/>
      <dgm:spPr/>
    </dgm:pt>
    <dgm:pt modelId="{D75D3820-4C12-464F-B8C4-4FA2734626F7}" type="pres">
      <dgm:prSet presAssocID="{47626793-9F14-4DFF-BA65-95C1406ADCDF}" presName="header" presStyleLbl="node1" presStyleIdx="1" presStyleCnt="2"/>
      <dgm:spPr/>
    </dgm:pt>
    <dgm:pt modelId="{F55D71A7-63B1-4EA9-9210-FAE709F13551}" type="pres">
      <dgm:prSet presAssocID="{13F78EC1-2DA1-4482-815A-493014FD96F0}" presName="parTrans" presStyleLbl="sibTrans2D1" presStyleIdx="3" presStyleCnt="6"/>
      <dgm:spPr/>
    </dgm:pt>
    <dgm:pt modelId="{686FFF93-8549-464D-B9A1-F8B06F449DB3}" type="pres">
      <dgm:prSet presAssocID="{C5C24088-4C84-4863-A3CA-8E813D94301A}" presName="child" presStyleLbl="alignAccFollowNode1" presStyleIdx="3" presStyleCnt="6">
        <dgm:presLayoutVars>
          <dgm:chMax val="0"/>
          <dgm:bulletEnabled val="1"/>
        </dgm:presLayoutVars>
      </dgm:prSet>
      <dgm:spPr/>
    </dgm:pt>
    <dgm:pt modelId="{E5FBEDB6-47FE-4382-9841-38FBC7A316FB}" type="pres">
      <dgm:prSet presAssocID="{75BCE02A-0ABB-4612-B022-47B06B2F10F9}" presName="sibTrans" presStyleLbl="sibTrans2D1" presStyleIdx="4" presStyleCnt="6"/>
      <dgm:spPr/>
    </dgm:pt>
    <dgm:pt modelId="{D3C2D906-4E8A-4530-87DE-5E53505D74E5}" type="pres">
      <dgm:prSet presAssocID="{339F4B6A-2D28-4236-BBF0-E41FC90536D5}" presName="child" presStyleLbl="alignAccFollowNode1" presStyleIdx="4" presStyleCnt="6">
        <dgm:presLayoutVars>
          <dgm:chMax val="0"/>
          <dgm:bulletEnabled val="1"/>
        </dgm:presLayoutVars>
      </dgm:prSet>
      <dgm:spPr/>
    </dgm:pt>
    <dgm:pt modelId="{D9CCF50A-6EED-468E-BFBF-C43E15E7A0F9}" type="pres">
      <dgm:prSet presAssocID="{363C33AD-22D4-43F9-B307-04F297FEBF2E}" presName="sibTrans" presStyleLbl="sibTrans2D1" presStyleIdx="5" presStyleCnt="6"/>
      <dgm:spPr/>
    </dgm:pt>
    <dgm:pt modelId="{FD73CE53-0F6C-43F8-92D7-7DC5EE715D39}" type="pres">
      <dgm:prSet presAssocID="{58B69A5A-EE80-49EE-A0AA-83849820926B}" presName="child" presStyleLbl="alignAccFollowNode1" presStyleIdx="5" presStyleCnt="6">
        <dgm:presLayoutVars>
          <dgm:chMax val="0"/>
          <dgm:bulletEnabled val="1"/>
        </dgm:presLayoutVars>
      </dgm:prSet>
      <dgm:spPr/>
    </dgm:pt>
  </dgm:ptLst>
  <dgm:cxnLst>
    <dgm:cxn modelId="{58207300-1ADD-40A0-96F5-F59F0C27B3E2}" srcId="{01E1DF0C-A459-49AA-8F8D-34E69D8DBE3E}" destId="{536E8374-BBB8-40BB-ACBD-22E490121568}" srcOrd="0" destOrd="0" parTransId="{46BC945B-9D04-47F7-8FCB-0B9C69EF93ED}" sibTransId="{498D443E-B527-4599-8CF9-E9DC179B3CE3}"/>
    <dgm:cxn modelId="{0B7B360D-EEDF-410C-9184-5D00DF0BCC67}" type="presOf" srcId="{4DE331D4-65B5-4482-87BB-F2C83FF63B15}" destId="{106C2846-DE02-40A4-A05F-80CAD2B38434}" srcOrd="0" destOrd="0" presId="urn:microsoft.com/office/officeart/2005/8/layout/lProcess1"/>
    <dgm:cxn modelId="{39DBC214-B195-4F48-B1A9-AAF9D89EC849}" type="presOf" srcId="{536E8374-BBB8-40BB-ACBD-22E490121568}" destId="{79687A28-7933-40FE-B90E-1BF426CEEBE9}" srcOrd="0" destOrd="0" presId="urn:microsoft.com/office/officeart/2005/8/layout/lProcess1"/>
    <dgm:cxn modelId="{0493C91B-FE9A-48C3-BE8E-A46DA8FD7597}" type="presOf" srcId="{75BCE02A-0ABB-4612-B022-47B06B2F10F9}" destId="{E5FBEDB6-47FE-4382-9841-38FBC7A316FB}" srcOrd="0" destOrd="0" presId="urn:microsoft.com/office/officeart/2005/8/layout/lProcess1"/>
    <dgm:cxn modelId="{02F9C728-CAB8-4E30-9DFB-6EA225948948}" type="presOf" srcId="{01E1DF0C-A459-49AA-8F8D-34E69D8DBE3E}" destId="{CFE01A38-B983-458F-BAF1-A25235FBEF65}" srcOrd="0" destOrd="0" presId="urn:microsoft.com/office/officeart/2005/8/layout/lProcess1"/>
    <dgm:cxn modelId="{8798053C-D903-488D-B846-61AF881457E0}" srcId="{536E8374-BBB8-40BB-ACBD-22E490121568}" destId="{3115880A-D643-408E-B58A-41EB57EA7475}" srcOrd="1" destOrd="0" parTransId="{B3B8722B-11AD-409F-8FC9-85588870BC09}" sibTransId="{1482643A-BE84-48D5-A253-8280707E34A8}"/>
    <dgm:cxn modelId="{1D82663E-5A0D-4830-A727-B304BA1D1941}" type="presOf" srcId="{61A9F81F-8313-46A9-AF91-BDC685FB7939}" destId="{0024E3D4-969F-4562-B6F1-432DAB602984}" srcOrd="0" destOrd="0" presId="urn:microsoft.com/office/officeart/2005/8/layout/lProcess1"/>
    <dgm:cxn modelId="{586B5140-E372-4B44-9969-E54621401E3F}" type="presOf" srcId="{59F6C864-5B9B-42D8-884B-5F97D3D41565}" destId="{A7104F3A-6625-4D19-A900-803AF04F48D1}" srcOrd="0" destOrd="0" presId="urn:microsoft.com/office/officeart/2005/8/layout/lProcess1"/>
    <dgm:cxn modelId="{2937E441-9E15-4CA0-91A5-40A27C8EB1F0}" type="presOf" srcId="{58B69A5A-EE80-49EE-A0AA-83849820926B}" destId="{FD73CE53-0F6C-43F8-92D7-7DC5EE715D39}" srcOrd="0" destOrd="0" presId="urn:microsoft.com/office/officeart/2005/8/layout/lProcess1"/>
    <dgm:cxn modelId="{AB362543-AEDE-4D49-A64E-C28B2B54885B}" srcId="{536E8374-BBB8-40BB-ACBD-22E490121568}" destId="{4DE331D4-65B5-4482-87BB-F2C83FF63B15}" srcOrd="2" destOrd="0" parTransId="{7D6A6022-527A-4418-8A18-56A5B0EA3107}" sibTransId="{04B154D8-6E13-4E6B-8913-5E6E28066FAA}"/>
    <dgm:cxn modelId="{5098E945-2E4A-4ADD-9E46-2FB96804F033}" srcId="{47626793-9F14-4DFF-BA65-95C1406ADCDF}" destId="{339F4B6A-2D28-4236-BBF0-E41FC90536D5}" srcOrd="1" destOrd="0" parTransId="{E74D8455-F5CE-490B-8DC3-004FB37D5B79}" sibTransId="{363C33AD-22D4-43F9-B307-04F297FEBF2E}"/>
    <dgm:cxn modelId="{39FAA948-47C1-4468-ADA5-B86DF2E587D0}" type="presOf" srcId="{47626793-9F14-4DFF-BA65-95C1406ADCDF}" destId="{D75D3820-4C12-464F-B8C4-4FA2734626F7}" srcOrd="0" destOrd="0" presId="urn:microsoft.com/office/officeart/2005/8/layout/lProcess1"/>
    <dgm:cxn modelId="{934AF581-53D8-4DAC-B3BD-A7B0A0760FFA}" srcId="{47626793-9F14-4DFF-BA65-95C1406ADCDF}" destId="{C5C24088-4C84-4863-A3CA-8E813D94301A}" srcOrd="0" destOrd="0" parTransId="{13F78EC1-2DA1-4482-815A-493014FD96F0}" sibTransId="{75BCE02A-0ABB-4612-B022-47B06B2F10F9}"/>
    <dgm:cxn modelId="{D86ECE88-9FBD-4B8D-B598-EAFD48F331D5}" srcId="{536E8374-BBB8-40BB-ACBD-22E490121568}" destId="{59F6C864-5B9B-42D8-884B-5F97D3D41565}" srcOrd="0" destOrd="0" parTransId="{61A9F81F-8313-46A9-AF91-BDC685FB7939}" sibTransId="{FAEEAAFD-10E4-4D31-9E09-AC9960366E1C}"/>
    <dgm:cxn modelId="{F7D77D97-A756-4EE2-B7DC-A3225CB4D663}" srcId="{01E1DF0C-A459-49AA-8F8D-34E69D8DBE3E}" destId="{47626793-9F14-4DFF-BA65-95C1406ADCDF}" srcOrd="1" destOrd="0" parTransId="{6AC79812-601E-4B18-B07E-A51D54B40154}" sibTransId="{7F1B9493-5C6E-409F-AA74-9B30B0A9FD56}"/>
    <dgm:cxn modelId="{5CF5749C-B986-4C9A-8D13-5BBC78854BD2}" srcId="{47626793-9F14-4DFF-BA65-95C1406ADCDF}" destId="{58B69A5A-EE80-49EE-A0AA-83849820926B}" srcOrd="2" destOrd="0" parTransId="{C961843D-3F8C-4D12-B4BE-05233B127FFD}" sibTransId="{D01D64C4-1CCF-4E20-A5E8-396BADCB11DA}"/>
    <dgm:cxn modelId="{177CE5B1-92FF-4852-8B35-D74CFB55B2BD}" type="presOf" srcId="{13F78EC1-2DA1-4482-815A-493014FD96F0}" destId="{F55D71A7-63B1-4EA9-9210-FAE709F13551}" srcOrd="0" destOrd="0" presId="urn:microsoft.com/office/officeart/2005/8/layout/lProcess1"/>
    <dgm:cxn modelId="{3B9301CD-8B33-467C-8AED-CB9831F9F7D8}" type="presOf" srcId="{3115880A-D643-408E-B58A-41EB57EA7475}" destId="{6C862942-8E9E-4614-BCDD-E72C2B17EBC3}" srcOrd="0" destOrd="0" presId="urn:microsoft.com/office/officeart/2005/8/layout/lProcess1"/>
    <dgm:cxn modelId="{CFF633D0-245C-4F2E-8C05-348DECBB20AC}" type="presOf" srcId="{1482643A-BE84-48D5-A253-8280707E34A8}" destId="{9FB22010-0258-42A6-A13A-6BCC5A2768D8}" srcOrd="0" destOrd="0" presId="urn:microsoft.com/office/officeart/2005/8/layout/lProcess1"/>
    <dgm:cxn modelId="{41B4CCD9-56C0-4DA2-8A18-CF43A2EE0BF3}" type="presOf" srcId="{363C33AD-22D4-43F9-B307-04F297FEBF2E}" destId="{D9CCF50A-6EED-468E-BFBF-C43E15E7A0F9}" srcOrd="0" destOrd="0" presId="urn:microsoft.com/office/officeart/2005/8/layout/lProcess1"/>
    <dgm:cxn modelId="{BB8C26DB-C796-44E9-AC01-9C526F76F22C}" type="presOf" srcId="{FAEEAAFD-10E4-4D31-9E09-AC9960366E1C}" destId="{B668CADA-40A7-4DA8-8557-13CA6A501E83}" srcOrd="0" destOrd="0" presId="urn:microsoft.com/office/officeart/2005/8/layout/lProcess1"/>
    <dgm:cxn modelId="{70D378EB-4844-4D30-AAE0-C6FF6D1CCF87}" type="presOf" srcId="{C5C24088-4C84-4863-A3CA-8E813D94301A}" destId="{686FFF93-8549-464D-B9A1-F8B06F449DB3}" srcOrd="0" destOrd="0" presId="urn:microsoft.com/office/officeart/2005/8/layout/lProcess1"/>
    <dgm:cxn modelId="{3BC64AF6-2ED8-4789-80CB-BF115AEED2A9}" type="presOf" srcId="{339F4B6A-2D28-4236-BBF0-E41FC90536D5}" destId="{D3C2D906-4E8A-4530-87DE-5E53505D74E5}" srcOrd="0" destOrd="0" presId="urn:microsoft.com/office/officeart/2005/8/layout/lProcess1"/>
    <dgm:cxn modelId="{19320A63-5BEB-49DC-B0D4-13337AA6B9E0}" type="presParOf" srcId="{CFE01A38-B983-458F-BAF1-A25235FBEF65}" destId="{EB272D11-D7C1-481B-8C09-D9093500CB93}" srcOrd="0" destOrd="0" presId="urn:microsoft.com/office/officeart/2005/8/layout/lProcess1"/>
    <dgm:cxn modelId="{1424193A-50D3-489A-947E-E946978A64B3}" type="presParOf" srcId="{EB272D11-D7C1-481B-8C09-D9093500CB93}" destId="{79687A28-7933-40FE-B90E-1BF426CEEBE9}" srcOrd="0" destOrd="0" presId="urn:microsoft.com/office/officeart/2005/8/layout/lProcess1"/>
    <dgm:cxn modelId="{D9967D0F-400A-41C4-8BDE-64B5643C8F03}" type="presParOf" srcId="{EB272D11-D7C1-481B-8C09-D9093500CB93}" destId="{0024E3D4-969F-4562-B6F1-432DAB602984}" srcOrd="1" destOrd="0" presId="urn:microsoft.com/office/officeart/2005/8/layout/lProcess1"/>
    <dgm:cxn modelId="{3294DF7E-6162-434A-97E3-3AEA31CAD552}" type="presParOf" srcId="{EB272D11-D7C1-481B-8C09-D9093500CB93}" destId="{A7104F3A-6625-4D19-A900-803AF04F48D1}" srcOrd="2" destOrd="0" presId="urn:microsoft.com/office/officeart/2005/8/layout/lProcess1"/>
    <dgm:cxn modelId="{B8D91EF1-018D-4A7E-AA18-C4EA1EB18D83}" type="presParOf" srcId="{EB272D11-D7C1-481B-8C09-D9093500CB93}" destId="{B668CADA-40A7-4DA8-8557-13CA6A501E83}" srcOrd="3" destOrd="0" presId="urn:microsoft.com/office/officeart/2005/8/layout/lProcess1"/>
    <dgm:cxn modelId="{92613C3B-51B0-4F52-826E-8E4495AF5A22}" type="presParOf" srcId="{EB272D11-D7C1-481B-8C09-D9093500CB93}" destId="{6C862942-8E9E-4614-BCDD-E72C2B17EBC3}" srcOrd="4" destOrd="0" presId="urn:microsoft.com/office/officeart/2005/8/layout/lProcess1"/>
    <dgm:cxn modelId="{AEC9735A-D316-47B8-A2C4-F49FA6DD7B75}" type="presParOf" srcId="{EB272D11-D7C1-481B-8C09-D9093500CB93}" destId="{9FB22010-0258-42A6-A13A-6BCC5A2768D8}" srcOrd="5" destOrd="0" presId="urn:microsoft.com/office/officeart/2005/8/layout/lProcess1"/>
    <dgm:cxn modelId="{F157F0CF-82DB-4F1F-ACAB-0CE2D9AB6378}" type="presParOf" srcId="{EB272D11-D7C1-481B-8C09-D9093500CB93}" destId="{106C2846-DE02-40A4-A05F-80CAD2B38434}" srcOrd="6" destOrd="0" presId="urn:microsoft.com/office/officeart/2005/8/layout/lProcess1"/>
    <dgm:cxn modelId="{36C5291D-2228-4FAC-99D0-B3621F0AE921}" type="presParOf" srcId="{CFE01A38-B983-458F-BAF1-A25235FBEF65}" destId="{95B22F37-6AC0-46B3-ACF8-DBF2D0537320}" srcOrd="1" destOrd="0" presId="urn:microsoft.com/office/officeart/2005/8/layout/lProcess1"/>
    <dgm:cxn modelId="{72749C9F-4832-45ED-B6B8-2E6F87695B21}" type="presParOf" srcId="{CFE01A38-B983-458F-BAF1-A25235FBEF65}" destId="{F826936E-D9CB-404C-8DF4-5BBDA9D9C9DC}" srcOrd="2" destOrd="0" presId="urn:microsoft.com/office/officeart/2005/8/layout/lProcess1"/>
    <dgm:cxn modelId="{D5EBAB27-236C-401F-933E-39D88882F577}" type="presParOf" srcId="{F826936E-D9CB-404C-8DF4-5BBDA9D9C9DC}" destId="{D75D3820-4C12-464F-B8C4-4FA2734626F7}" srcOrd="0" destOrd="0" presId="urn:microsoft.com/office/officeart/2005/8/layout/lProcess1"/>
    <dgm:cxn modelId="{EF00B07D-E84A-4ED6-B7A0-845BEA80B9C5}" type="presParOf" srcId="{F826936E-D9CB-404C-8DF4-5BBDA9D9C9DC}" destId="{F55D71A7-63B1-4EA9-9210-FAE709F13551}" srcOrd="1" destOrd="0" presId="urn:microsoft.com/office/officeart/2005/8/layout/lProcess1"/>
    <dgm:cxn modelId="{1E77953C-201A-46FF-94C8-2562BF273A4E}" type="presParOf" srcId="{F826936E-D9CB-404C-8DF4-5BBDA9D9C9DC}" destId="{686FFF93-8549-464D-B9A1-F8B06F449DB3}" srcOrd="2" destOrd="0" presId="urn:microsoft.com/office/officeart/2005/8/layout/lProcess1"/>
    <dgm:cxn modelId="{B4614A37-42C1-41E3-8ED1-CCF31D554C70}" type="presParOf" srcId="{F826936E-D9CB-404C-8DF4-5BBDA9D9C9DC}" destId="{E5FBEDB6-47FE-4382-9841-38FBC7A316FB}" srcOrd="3" destOrd="0" presId="urn:microsoft.com/office/officeart/2005/8/layout/lProcess1"/>
    <dgm:cxn modelId="{28F38E65-6B2B-488D-BA2F-81699D6848E0}" type="presParOf" srcId="{F826936E-D9CB-404C-8DF4-5BBDA9D9C9DC}" destId="{D3C2D906-4E8A-4530-87DE-5E53505D74E5}" srcOrd="4" destOrd="0" presId="urn:microsoft.com/office/officeart/2005/8/layout/lProcess1"/>
    <dgm:cxn modelId="{72890434-A2C0-4BC6-9CD8-F36A49DE7135}" type="presParOf" srcId="{F826936E-D9CB-404C-8DF4-5BBDA9D9C9DC}" destId="{D9CCF50A-6EED-468E-BFBF-C43E15E7A0F9}" srcOrd="5" destOrd="0" presId="urn:microsoft.com/office/officeart/2005/8/layout/lProcess1"/>
    <dgm:cxn modelId="{4170605F-33EA-411D-A781-3970ADCE84C7}" type="presParOf" srcId="{F826936E-D9CB-404C-8DF4-5BBDA9D9C9DC}" destId="{FD73CE53-0F6C-43F8-92D7-7DC5EE715D39}" srcOrd="6"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1" qsCatId="simple" csTypeId="urn:microsoft.com/office/officeart/2005/8/colors/colorful3" csCatId="colorful" phldr="1"/>
      <dgm:spPr/>
      <dgm:t>
        <a:bodyPr/>
        <a:lstStyle/>
        <a:p>
          <a:endParaRPr lang="en-US"/>
        </a:p>
      </dgm:t>
    </dgm:pt>
    <dgm:pt modelId="{97F0FB0A-A372-4C7D-A0E8-B4077D7C285D}">
      <dgm:prSet custT="1"/>
      <dgm:spPr/>
      <dgm:t>
        <a:bodyPr/>
        <a:lstStyle/>
        <a:p>
          <a:r>
            <a:rPr lang="en-US" sz="2000" dirty="0"/>
            <a:t>Module 2: SQL Server I/O and Database Structure</a:t>
          </a:r>
        </a:p>
      </dgm:t>
    </dgm:pt>
    <dgm:pt modelId="{C697FECA-46F5-4B97-A6A9-05AA3BC20F50}" type="parTrans" cxnId="{D36B39DC-C1BA-412C-A5CF-A9566963B253}">
      <dgm:prSet/>
      <dgm:spPr/>
      <dgm:t>
        <a:bodyPr/>
        <a:lstStyle/>
        <a:p>
          <a:endParaRPr lang="en-US"/>
        </a:p>
      </dgm:t>
    </dgm:pt>
    <dgm:pt modelId="{640A359B-9860-4DE5-9ADC-F7D7D72DC85F}" type="sibTrans" cxnId="{D36B39DC-C1BA-412C-A5CF-A9566963B253}">
      <dgm:prSet/>
      <dgm:spPr/>
      <dgm:t>
        <a:bodyPr/>
        <a:lstStyle/>
        <a:p>
          <a:endParaRPr lang="en-US"/>
        </a:p>
      </dgm:t>
    </dgm:pt>
    <dgm:pt modelId="{97FE6D97-F2BE-45EB-86B4-26ACE34EF4E9}">
      <dgm:prSet custT="1"/>
      <dgm:spPr/>
      <dgm:t>
        <a:bodyPr/>
        <a:lstStyle/>
        <a:p>
          <a:r>
            <a:rPr lang="en-US" sz="2000" dirty="0"/>
            <a:t>SQL Server Transactions</a:t>
          </a:r>
        </a:p>
      </dgm:t>
    </dgm:pt>
    <dgm:pt modelId="{E1485A84-A6A7-4C1E-917D-70B577E102EA}" type="parTrans" cxnId="{CC101BF5-BCCC-47B9-91F5-0C16F6DF2930}">
      <dgm:prSet/>
      <dgm:spPr/>
      <dgm:t>
        <a:bodyPr/>
        <a:lstStyle/>
        <a:p>
          <a:endParaRPr lang="en-US"/>
        </a:p>
      </dgm:t>
    </dgm:pt>
    <dgm:pt modelId="{C2ADBC24-38B3-4F0A-AA69-251381257380}" type="sibTrans" cxnId="{CC101BF5-BCCC-47B9-91F5-0C16F6DF2930}">
      <dgm:prSet/>
      <dgm:spPr/>
      <dgm:t>
        <a:bodyPr/>
        <a:lstStyle/>
        <a:p>
          <a:endParaRPr lang="en-US"/>
        </a:p>
      </dgm:t>
    </dgm:pt>
    <dgm:pt modelId="{7F81CFF1-5B5D-40B3-97A2-63298ECDA33D}">
      <dgm:prSet custT="1"/>
      <dgm:spPr/>
      <dgm:t>
        <a:bodyPr/>
        <a:lstStyle/>
        <a:p>
          <a:r>
            <a:rPr lang="en-US" sz="2000" dirty="0"/>
            <a:t>Transaction Isolation Levels</a:t>
          </a:r>
        </a:p>
      </dgm:t>
    </dgm:pt>
    <dgm:pt modelId="{7EDAB598-2E81-4AD1-B6A4-ECC0B542E073}" type="parTrans" cxnId="{0461F2C7-9107-40C6-89A8-499A69965B38}">
      <dgm:prSet/>
      <dgm:spPr/>
      <dgm:t>
        <a:bodyPr/>
        <a:lstStyle/>
        <a:p>
          <a:endParaRPr lang="en-US"/>
        </a:p>
      </dgm:t>
    </dgm:pt>
    <dgm:pt modelId="{582D74BB-5A41-4295-B786-9F9D49DB4053}" type="sibTrans" cxnId="{0461F2C7-9107-40C6-89A8-499A69965B38}">
      <dgm:prSet/>
      <dgm:spPr/>
      <dgm:t>
        <a:bodyPr/>
        <a:lstStyle/>
        <a:p>
          <a:endParaRPr lang="en-US"/>
        </a:p>
      </dgm:t>
    </dgm:pt>
    <dgm:pt modelId="{C1F4D27E-FFA1-4E3C-8CB1-D287B88F7993}">
      <dgm:prSet custT="1"/>
      <dgm:spPr/>
      <dgm:t>
        <a:bodyPr/>
        <a:lstStyle/>
        <a:p>
          <a:r>
            <a:rPr lang="en-US" sz="2000" dirty="0"/>
            <a:t>Module 4: SQL Server Concurrency and Transactions</a:t>
          </a:r>
        </a:p>
      </dgm:t>
    </dgm:pt>
    <dgm:pt modelId="{5EC18D1F-2434-4375-8C52-FD441EC3682D}" type="parTrans" cxnId="{39861C06-9D0D-4686-9DD3-9C05A947ADBA}">
      <dgm:prSet/>
      <dgm:spPr/>
      <dgm:t>
        <a:bodyPr/>
        <a:lstStyle/>
        <a:p>
          <a:endParaRPr lang="en-US"/>
        </a:p>
      </dgm:t>
    </dgm:pt>
    <dgm:pt modelId="{627AD5D3-5343-4A6A-8497-1815E9DD24F3}" type="sibTrans" cxnId="{39861C06-9D0D-4686-9DD3-9C05A947ADBA}">
      <dgm:prSet/>
      <dgm:spPr/>
      <dgm:t>
        <a:bodyPr/>
        <a:lstStyle/>
        <a:p>
          <a:endParaRPr lang="en-US"/>
        </a:p>
      </dgm:t>
    </dgm:pt>
    <dgm:pt modelId="{54110199-3EB3-40E0-9ECE-20B24477EAB8}">
      <dgm:prSet custT="1"/>
      <dgm:spPr/>
      <dgm:t>
        <a:bodyPr/>
        <a:lstStyle/>
        <a:p>
          <a:r>
            <a:rPr lang="en-US" sz="2000" dirty="0"/>
            <a:t>Windows Memory Management</a:t>
          </a:r>
        </a:p>
      </dgm:t>
    </dgm:pt>
    <dgm:pt modelId="{C8DD6338-A671-4018-8C1C-C20CA99037AC}" type="parTrans" cxnId="{B88BC927-D4D6-46B6-ABF1-E832CDDB7788}">
      <dgm:prSet/>
      <dgm:spPr/>
      <dgm:t>
        <a:bodyPr/>
        <a:lstStyle/>
        <a:p>
          <a:endParaRPr lang="en-US"/>
        </a:p>
      </dgm:t>
    </dgm:pt>
    <dgm:pt modelId="{D5482405-0C10-49EE-95D4-E7C896CB73FA}" type="sibTrans" cxnId="{B88BC927-D4D6-46B6-ABF1-E832CDDB7788}">
      <dgm:prSet/>
      <dgm:spPr/>
      <dgm:t>
        <a:bodyPr/>
        <a:lstStyle/>
        <a:p>
          <a:endParaRPr lang="en-US"/>
        </a:p>
      </dgm:t>
    </dgm:pt>
    <dgm:pt modelId="{AF0DC6D9-FE8D-4EDF-92AD-17F784025FB1}">
      <dgm:prSet custT="1"/>
      <dgm:spPr/>
      <dgm:t>
        <a:bodyPr/>
        <a:lstStyle/>
        <a:p>
          <a:r>
            <a:rPr lang="en-US" sz="2000" dirty="0"/>
            <a:t>SQL Server Memory Management</a:t>
          </a:r>
        </a:p>
      </dgm:t>
    </dgm:pt>
    <dgm:pt modelId="{587FA373-07D8-4DE7-BE7E-240A4E6ECFD9}" type="parTrans" cxnId="{DF52E453-DC4A-4E59-ABB9-B18F563BDC25}">
      <dgm:prSet/>
      <dgm:spPr/>
      <dgm:t>
        <a:bodyPr/>
        <a:lstStyle/>
        <a:p>
          <a:endParaRPr lang="en-US"/>
        </a:p>
      </dgm:t>
    </dgm:pt>
    <dgm:pt modelId="{F6714D13-9FBE-4E53-A786-00EA9A52AA04}" type="sibTrans" cxnId="{DF52E453-DC4A-4E59-ABB9-B18F563BDC25}">
      <dgm:prSet/>
      <dgm:spPr/>
      <dgm:t>
        <a:bodyPr/>
        <a:lstStyle/>
        <a:p>
          <a:endParaRPr lang="en-US"/>
        </a:p>
      </dgm:t>
    </dgm:pt>
    <dgm:pt modelId="{9FC45D92-FC39-4E8B-A883-13BF07CBA334}">
      <dgm:prSet custT="1"/>
      <dgm:spPr/>
      <dgm:t>
        <a:bodyPr/>
        <a:lstStyle/>
        <a:p>
          <a:r>
            <a:rPr lang="en-US" sz="2000" dirty="0"/>
            <a:t>Troubleshooting SQL Server Memory</a:t>
          </a:r>
        </a:p>
      </dgm:t>
    </dgm:pt>
    <dgm:pt modelId="{EE20B369-42BA-4594-A93C-FF22C3E4A7CE}" type="parTrans" cxnId="{B1DF94CA-CABE-435F-8D80-9C5267DDE061}">
      <dgm:prSet/>
      <dgm:spPr/>
      <dgm:t>
        <a:bodyPr/>
        <a:lstStyle/>
        <a:p>
          <a:endParaRPr lang="en-US"/>
        </a:p>
      </dgm:t>
    </dgm:pt>
    <dgm:pt modelId="{7F21E2E1-3343-42B2-952F-7D66ECAF4F36}" type="sibTrans" cxnId="{B1DF94CA-CABE-435F-8D80-9C5267DDE061}">
      <dgm:prSet/>
      <dgm:spPr/>
      <dgm:t>
        <a:bodyPr/>
        <a:lstStyle/>
        <a:p>
          <a:endParaRPr lang="en-US"/>
        </a:p>
      </dgm:t>
    </dgm:pt>
    <dgm:pt modelId="{680CF5DA-A39D-40E8-8894-8D89D111821D}">
      <dgm:prSet custT="1"/>
      <dgm:spPr/>
      <dgm:t>
        <a:bodyPr/>
        <a:lstStyle/>
        <a:p>
          <a:r>
            <a:rPr lang="en-US" sz="2000" dirty="0"/>
            <a:t>TempDB File Structure</a:t>
          </a:r>
        </a:p>
      </dgm:t>
    </dgm:pt>
    <dgm:pt modelId="{CD67F235-7C55-4EF8-857C-A4B86A7CC9A8}" type="parTrans" cxnId="{8D6F5683-950B-4D9E-835D-BBC0BB5AA61E}">
      <dgm:prSet/>
      <dgm:spPr/>
      <dgm:t>
        <a:bodyPr/>
        <a:lstStyle/>
        <a:p>
          <a:endParaRPr lang="en-US"/>
        </a:p>
      </dgm:t>
    </dgm:pt>
    <dgm:pt modelId="{328CB699-C1EF-43D8-A570-B181DE58279B}" type="sibTrans" cxnId="{8D6F5683-950B-4D9E-835D-BBC0BB5AA61E}">
      <dgm:prSet/>
      <dgm:spPr/>
      <dgm:t>
        <a:bodyPr/>
        <a:lstStyle/>
        <a:p>
          <a:endParaRPr lang="en-US"/>
        </a:p>
      </dgm:t>
    </dgm:pt>
    <dgm:pt modelId="{9A3E82FD-E260-4DBE-8E9A-CF5470CF7361}">
      <dgm:prSet custT="1"/>
      <dgm:spPr/>
      <dgm:t>
        <a:bodyPr/>
        <a:lstStyle/>
        <a:p>
          <a:r>
            <a:rPr lang="en-US" sz="2000" dirty="0"/>
            <a:t>Module 3: SQL Server Memory</a:t>
          </a:r>
        </a:p>
      </dgm:t>
    </dgm:pt>
    <dgm:pt modelId="{E9D37D7D-E5C7-409F-9D34-EFB6707101C4}" type="parTrans" cxnId="{6559B67B-3FA5-4121-B7C4-AD6FF8BBE5B7}">
      <dgm:prSet/>
      <dgm:spPr/>
      <dgm:t>
        <a:bodyPr/>
        <a:lstStyle/>
        <a:p>
          <a:endParaRPr lang="en-US"/>
        </a:p>
      </dgm:t>
    </dgm:pt>
    <dgm:pt modelId="{A8B101F4-393A-44B3-BC5C-62B9B5F66ADD}" type="sibTrans" cxnId="{6559B67B-3FA5-4121-B7C4-AD6FF8BBE5B7}">
      <dgm:prSet/>
      <dgm:spPr/>
      <dgm:t>
        <a:bodyPr/>
        <a:lstStyle/>
        <a:p>
          <a:endParaRPr lang="en-US"/>
        </a:p>
      </dgm:t>
    </dgm:pt>
    <dgm:pt modelId="{716547CB-6BC6-4331-B92D-A066E4AA467D}">
      <dgm:prSet custT="1"/>
      <dgm:spPr/>
      <dgm:t>
        <a:bodyPr/>
        <a:lstStyle/>
        <a:p>
          <a:r>
            <a:rPr lang="fr-FR" sz="2000" dirty="0"/>
            <a:t>Log File Structure</a:t>
          </a:r>
          <a:endParaRPr lang="en-US" sz="2000" dirty="0"/>
        </a:p>
      </dgm:t>
    </dgm:pt>
    <dgm:pt modelId="{371C79E0-0FC9-4D7B-8D38-6AB496D29342}" type="parTrans" cxnId="{4BE57D8E-28CC-446E-9070-4B89C52FE36C}">
      <dgm:prSet/>
      <dgm:spPr/>
      <dgm:t>
        <a:bodyPr/>
        <a:lstStyle/>
        <a:p>
          <a:endParaRPr lang="en-US"/>
        </a:p>
      </dgm:t>
    </dgm:pt>
    <dgm:pt modelId="{32702337-FA36-48A9-A436-5B184637264B}" type="sibTrans" cxnId="{4BE57D8E-28CC-446E-9070-4B89C52FE36C}">
      <dgm:prSet/>
      <dgm:spPr/>
      <dgm:t>
        <a:bodyPr/>
        <a:lstStyle/>
        <a:p>
          <a:endParaRPr lang="en-US"/>
        </a:p>
      </dgm:t>
    </dgm:pt>
    <dgm:pt modelId="{BDB444FE-D103-49BE-83CD-D42E04F4C555}" type="pres">
      <dgm:prSet presAssocID="{01E1DF0C-A459-49AA-8F8D-34E69D8DBE3E}" presName="Name0" presStyleCnt="0">
        <dgm:presLayoutVars>
          <dgm:dir/>
          <dgm:animLvl val="lvl"/>
          <dgm:resizeHandles val="exact"/>
        </dgm:presLayoutVars>
      </dgm:prSet>
      <dgm:spPr/>
    </dgm:pt>
    <dgm:pt modelId="{3079CD18-0A30-47B4-8E4A-053B2D322DA3}" type="pres">
      <dgm:prSet presAssocID="{97F0FB0A-A372-4C7D-A0E8-B4077D7C285D}" presName="vertFlow" presStyleCnt="0"/>
      <dgm:spPr/>
    </dgm:pt>
    <dgm:pt modelId="{8F589238-B07C-4484-9F16-7E69EEF9134B}" type="pres">
      <dgm:prSet presAssocID="{97F0FB0A-A372-4C7D-A0E8-B4077D7C285D}" presName="header" presStyleLbl="node1" presStyleIdx="0" presStyleCnt="3"/>
      <dgm:spPr/>
    </dgm:pt>
    <dgm:pt modelId="{09B34A7B-8E8E-405F-A696-CB3481C1770F}" type="pres">
      <dgm:prSet presAssocID="{371C79E0-0FC9-4D7B-8D38-6AB496D29342}" presName="parTrans" presStyleLbl="sibTrans2D1" presStyleIdx="0" presStyleCnt="7"/>
      <dgm:spPr/>
    </dgm:pt>
    <dgm:pt modelId="{9F02414D-6762-4411-AF94-7D6AE579AC2E}" type="pres">
      <dgm:prSet presAssocID="{716547CB-6BC6-4331-B92D-A066E4AA467D}" presName="child" presStyleLbl="alignAccFollowNode1" presStyleIdx="0" presStyleCnt="7">
        <dgm:presLayoutVars>
          <dgm:chMax val="0"/>
          <dgm:bulletEnabled val="1"/>
        </dgm:presLayoutVars>
      </dgm:prSet>
      <dgm:spPr/>
    </dgm:pt>
    <dgm:pt modelId="{78220742-9879-4724-A685-E958ACA7C0BB}" type="pres">
      <dgm:prSet presAssocID="{32702337-FA36-48A9-A436-5B184637264B}" presName="sibTrans" presStyleLbl="sibTrans2D1" presStyleIdx="1" presStyleCnt="7"/>
      <dgm:spPr/>
    </dgm:pt>
    <dgm:pt modelId="{59E5FEA0-4646-452D-A099-71776A1B76EF}" type="pres">
      <dgm:prSet presAssocID="{680CF5DA-A39D-40E8-8894-8D89D111821D}" presName="child" presStyleLbl="alignAccFollowNode1" presStyleIdx="1" presStyleCnt="7">
        <dgm:presLayoutVars>
          <dgm:chMax val="0"/>
          <dgm:bulletEnabled val="1"/>
        </dgm:presLayoutVars>
      </dgm:prSet>
      <dgm:spPr/>
    </dgm:pt>
    <dgm:pt modelId="{FD58EE84-28A2-4E12-AB54-D6C519B6EE8E}" type="pres">
      <dgm:prSet presAssocID="{97F0FB0A-A372-4C7D-A0E8-B4077D7C285D}" presName="hSp" presStyleCnt="0"/>
      <dgm:spPr/>
    </dgm:pt>
    <dgm:pt modelId="{B3A8B865-B1A8-46DD-A53B-010AFA695AA5}" type="pres">
      <dgm:prSet presAssocID="{9A3E82FD-E260-4DBE-8E9A-CF5470CF7361}" presName="vertFlow" presStyleCnt="0"/>
      <dgm:spPr/>
    </dgm:pt>
    <dgm:pt modelId="{8115B093-6973-4960-9189-F4160E758B5E}" type="pres">
      <dgm:prSet presAssocID="{9A3E82FD-E260-4DBE-8E9A-CF5470CF7361}" presName="header" presStyleLbl="node1" presStyleIdx="1" presStyleCnt="3"/>
      <dgm:spPr/>
    </dgm:pt>
    <dgm:pt modelId="{73CCE419-EF22-456C-AE72-A2411F95BBC4}" type="pres">
      <dgm:prSet presAssocID="{C8DD6338-A671-4018-8C1C-C20CA99037AC}" presName="parTrans" presStyleLbl="sibTrans2D1" presStyleIdx="2" presStyleCnt="7"/>
      <dgm:spPr/>
    </dgm:pt>
    <dgm:pt modelId="{A74AEEEA-7DDE-43DD-83BB-9DD67CCB3BEF}" type="pres">
      <dgm:prSet presAssocID="{54110199-3EB3-40E0-9ECE-20B24477EAB8}" presName="child" presStyleLbl="alignAccFollowNode1" presStyleIdx="2" presStyleCnt="7">
        <dgm:presLayoutVars>
          <dgm:chMax val="0"/>
          <dgm:bulletEnabled val="1"/>
        </dgm:presLayoutVars>
      </dgm:prSet>
      <dgm:spPr/>
    </dgm:pt>
    <dgm:pt modelId="{493404C1-5734-4FB5-9856-BC9B40E7CD3A}" type="pres">
      <dgm:prSet presAssocID="{D5482405-0C10-49EE-95D4-E7C896CB73FA}" presName="sibTrans" presStyleLbl="sibTrans2D1" presStyleIdx="3" presStyleCnt="7"/>
      <dgm:spPr/>
    </dgm:pt>
    <dgm:pt modelId="{E41E97DE-F221-40ED-B452-E3A0F5A65BD3}" type="pres">
      <dgm:prSet presAssocID="{AF0DC6D9-FE8D-4EDF-92AD-17F784025FB1}" presName="child" presStyleLbl="alignAccFollowNode1" presStyleIdx="3" presStyleCnt="7">
        <dgm:presLayoutVars>
          <dgm:chMax val="0"/>
          <dgm:bulletEnabled val="1"/>
        </dgm:presLayoutVars>
      </dgm:prSet>
      <dgm:spPr/>
    </dgm:pt>
    <dgm:pt modelId="{50581BFA-EBB1-417B-BB61-A389385DCD61}" type="pres">
      <dgm:prSet presAssocID="{F6714D13-9FBE-4E53-A786-00EA9A52AA04}" presName="sibTrans" presStyleLbl="sibTrans2D1" presStyleIdx="4" presStyleCnt="7"/>
      <dgm:spPr/>
    </dgm:pt>
    <dgm:pt modelId="{D41444C1-8907-454E-BFA9-9EF2A998E5ED}" type="pres">
      <dgm:prSet presAssocID="{9FC45D92-FC39-4E8B-A883-13BF07CBA334}" presName="child" presStyleLbl="alignAccFollowNode1" presStyleIdx="4" presStyleCnt="7">
        <dgm:presLayoutVars>
          <dgm:chMax val="0"/>
          <dgm:bulletEnabled val="1"/>
        </dgm:presLayoutVars>
      </dgm:prSet>
      <dgm:spPr/>
    </dgm:pt>
    <dgm:pt modelId="{EB2B7C76-8203-4FEB-B619-0F25BC9E27D0}" type="pres">
      <dgm:prSet presAssocID="{9A3E82FD-E260-4DBE-8E9A-CF5470CF7361}" presName="hSp" presStyleCnt="0"/>
      <dgm:spPr/>
    </dgm:pt>
    <dgm:pt modelId="{371BB8F0-40A8-41E8-A6BE-E0A04D71862D}" type="pres">
      <dgm:prSet presAssocID="{C1F4D27E-FFA1-4E3C-8CB1-D287B88F7993}" presName="vertFlow" presStyleCnt="0"/>
      <dgm:spPr/>
    </dgm:pt>
    <dgm:pt modelId="{1AE482F8-6E05-453E-8A34-D692ECC99589}" type="pres">
      <dgm:prSet presAssocID="{C1F4D27E-FFA1-4E3C-8CB1-D287B88F7993}" presName="header" presStyleLbl="node1" presStyleIdx="2" presStyleCnt="3"/>
      <dgm:spPr/>
    </dgm:pt>
    <dgm:pt modelId="{217EDA0E-4729-47B3-8156-66D175A0FE16}" type="pres">
      <dgm:prSet presAssocID="{E1485A84-A6A7-4C1E-917D-70B577E102EA}" presName="parTrans" presStyleLbl="sibTrans2D1" presStyleIdx="5" presStyleCnt="7"/>
      <dgm:spPr/>
    </dgm:pt>
    <dgm:pt modelId="{2D10722C-077A-43D2-8B37-E38CAFCB0F53}" type="pres">
      <dgm:prSet presAssocID="{97FE6D97-F2BE-45EB-86B4-26ACE34EF4E9}" presName="child" presStyleLbl="alignAccFollowNode1" presStyleIdx="5" presStyleCnt="7">
        <dgm:presLayoutVars>
          <dgm:chMax val="0"/>
          <dgm:bulletEnabled val="1"/>
        </dgm:presLayoutVars>
      </dgm:prSet>
      <dgm:spPr/>
    </dgm:pt>
    <dgm:pt modelId="{B4C7C0A9-0FC7-43D3-9F18-19E92C3CBFFB}" type="pres">
      <dgm:prSet presAssocID="{C2ADBC24-38B3-4F0A-AA69-251381257380}" presName="sibTrans" presStyleLbl="sibTrans2D1" presStyleIdx="6" presStyleCnt="7"/>
      <dgm:spPr/>
    </dgm:pt>
    <dgm:pt modelId="{3DFF5457-ABC4-4014-AD47-3F36F67E6A0C}" type="pres">
      <dgm:prSet presAssocID="{7F81CFF1-5B5D-40B3-97A2-63298ECDA33D}" presName="child" presStyleLbl="alignAccFollowNode1" presStyleIdx="6" presStyleCnt="7">
        <dgm:presLayoutVars>
          <dgm:chMax val="0"/>
          <dgm:bulletEnabled val="1"/>
        </dgm:presLayoutVars>
      </dgm:prSet>
      <dgm:spPr/>
    </dgm:pt>
  </dgm:ptLst>
  <dgm:cxnLst>
    <dgm:cxn modelId="{39861C06-9D0D-4686-9DD3-9C05A947ADBA}" srcId="{01E1DF0C-A459-49AA-8F8D-34E69D8DBE3E}" destId="{C1F4D27E-FFA1-4E3C-8CB1-D287B88F7993}" srcOrd="2" destOrd="0" parTransId="{5EC18D1F-2434-4375-8C52-FD441EC3682D}" sibTransId="{627AD5D3-5343-4A6A-8497-1815E9DD24F3}"/>
    <dgm:cxn modelId="{B4E7510B-E0C0-47B5-A5C2-29FD322A5D25}" type="presOf" srcId="{E1485A84-A6A7-4C1E-917D-70B577E102EA}" destId="{217EDA0E-4729-47B3-8156-66D175A0FE16}" srcOrd="0" destOrd="0" presId="urn:microsoft.com/office/officeart/2005/8/layout/lProcess1"/>
    <dgm:cxn modelId="{0EF7460E-00CE-4288-90E9-C1CE8034EB26}" type="presOf" srcId="{32702337-FA36-48A9-A436-5B184637264B}" destId="{78220742-9879-4724-A685-E958ACA7C0BB}" srcOrd="0" destOrd="0" presId="urn:microsoft.com/office/officeart/2005/8/layout/lProcess1"/>
    <dgm:cxn modelId="{7516BA15-A634-43EB-A7DF-5FA52FCAB337}" type="presOf" srcId="{F6714D13-9FBE-4E53-A786-00EA9A52AA04}" destId="{50581BFA-EBB1-417B-BB61-A389385DCD61}" srcOrd="0" destOrd="0" presId="urn:microsoft.com/office/officeart/2005/8/layout/lProcess1"/>
    <dgm:cxn modelId="{B88BC927-D4D6-46B6-ABF1-E832CDDB7788}" srcId="{9A3E82FD-E260-4DBE-8E9A-CF5470CF7361}" destId="{54110199-3EB3-40E0-9ECE-20B24477EAB8}" srcOrd="0" destOrd="0" parTransId="{C8DD6338-A671-4018-8C1C-C20CA99037AC}" sibTransId="{D5482405-0C10-49EE-95D4-E7C896CB73FA}"/>
    <dgm:cxn modelId="{8A27C530-213B-4488-8B98-0A8821B9D3C2}" type="presOf" srcId="{97FE6D97-F2BE-45EB-86B4-26ACE34EF4E9}" destId="{2D10722C-077A-43D2-8B37-E38CAFCB0F53}" srcOrd="0" destOrd="0" presId="urn:microsoft.com/office/officeart/2005/8/layout/lProcess1"/>
    <dgm:cxn modelId="{C51CC650-0151-44B2-A550-3A164BF8E638}" type="presOf" srcId="{9FC45D92-FC39-4E8B-A883-13BF07CBA334}" destId="{D41444C1-8907-454E-BFA9-9EF2A998E5ED}" srcOrd="0" destOrd="0" presId="urn:microsoft.com/office/officeart/2005/8/layout/lProcess1"/>
    <dgm:cxn modelId="{DF52E453-DC4A-4E59-ABB9-B18F563BDC25}" srcId="{9A3E82FD-E260-4DBE-8E9A-CF5470CF7361}" destId="{AF0DC6D9-FE8D-4EDF-92AD-17F784025FB1}" srcOrd="1" destOrd="0" parTransId="{587FA373-07D8-4DE7-BE7E-240A4E6ECFD9}" sibTransId="{F6714D13-9FBE-4E53-A786-00EA9A52AA04}"/>
    <dgm:cxn modelId="{D7AF1476-C39C-4716-A32E-267FF945AF11}" type="presOf" srcId="{01E1DF0C-A459-49AA-8F8D-34E69D8DBE3E}" destId="{BDB444FE-D103-49BE-83CD-D42E04F4C555}" srcOrd="0" destOrd="0" presId="urn:microsoft.com/office/officeart/2005/8/layout/lProcess1"/>
    <dgm:cxn modelId="{15AEE079-D503-4C55-AAE6-AF3C26E8D15F}" type="presOf" srcId="{AF0DC6D9-FE8D-4EDF-92AD-17F784025FB1}" destId="{E41E97DE-F221-40ED-B452-E3A0F5A65BD3}" srcOrd="0" destOrd="0" presId="urn:microsoft.com/office/officeart/2005/8/layout/lProcess1"/>
    <dgm:cxn modelId="{6559B67B-3FA5-4121-B7C4-AD6FF8BBE5B7}" srcId="{01E1DF0C-A459-49AA-8F8D-34E69D8DBE3E}" destId="{9A3E82FD-E260-4DBE-8E9A-CF5470CF7361}" srcOrd="1" destOrd="0" parTransId="{E9D37D7D-E5C7-409F-9D34-EFB6707101C4}" sibTransId="{A8B101F4-393A-44B3-BC5C-62B9B5F66ADD}"/>
    <dgm:cxn modelId="{E2E8EA7F-8EDD-4669-8A75-EECCC129D46C}" type="presOf" srcId="{54110199-3EB3-40E0-9ECE-20B24477EAB8}" destId="{A74AEEEA-7DDE-43DD-83BB-9DD67CCB3BEF}" srcOrd="0" destOrd="0" presId="urn:microsoft.com/office/officeart/2005/8/layout/lProcess1"/>
    <dgm:cxn modelId="{8D6F5683-950B-4D9E-835D-BBC0BB5AA61E}" srcId="{97F0FB0A-A372-4C7D-A0E8-B4077D7C285D}" destId="{680CF5DA-A39D-40E8-8894-8D89D111821D}" srcOrd="1" destOrd="0" parTransId="{CD67F235-7C55-4EF8-857C-A4B86A7CC9A8}" sibTransId="{328CB699-C1EF-43D8-A570-B181DE58279B}"/>
    <dgm:cxn modelId="{4BE57D8E-28CC-446E-9070-4B89C52FE36C}" srcId="{97F0FB0A-A372-4C7D-A0E8-B4077D7C285D}" destId="{716547CB-6BC6-4331-B92D-A066E4AA467D}" srcOrd="0" destOrd="0" parTransId="{371C79E0-0FC9-4D7B-8D38-6AB496D29342}" sibTransId="{32702337-FA36-48A9-A436-5B184637264B}"/>
    <dgm:cxn modelId="{9E28EB9D-21C7-4D96-87E7-1EACD4FA5345}" type="presOf" srcId="{716547CB-6BC6-4331-B92D-A066E4AA467D}" destId="{9F02414D-6762-4411-AF94-7D6AE579AC2E}" srcOrd="0" destOrd="0" presId="urn:microsoft.com/office/officeart/2005/8/layout/lProcess1"/>
    <dgm:cxn modelId="{31A646A2-DC34-49E7-8EC2-CE7FCAEA1958}" type="presOf" srcId="{C1F4D27E-FFA1-4E3C-8CB1-D287B88F7993}" destId="{1AE482F8-6E05-453E-8A34-D692ECC99589}" srcOrd="0" destOrd="0" presId="urn:microsoft.com/office/officeart/2005/8/layout/lProcess1"/>
    <dgm:cxn modelId="{E67F62A7-C562-4A68-A1A8-E4F61CA7C725}" type="presOf" srcId="{371C79E0-0FC9-4D7B-8D38-6AB496D29342}" destId="{09B34A7B-8E8E-405F-A696-CB3481C1770F}" srcOrd="0" destOrd="0" presId="urn:microsoft.com/office/officeart/2005/8/layout/lProcess1"/>
    <dgm:cxn modelId="{C2538DBC-2777-4746-9C19-BC5BD49F2D5B}" type="presOf" srcId="{680CF5DA-A39D-40E8-8894-8D89D111821D}" destId="{59E5FEA0-4646-452D-A099-71776A1B76EF}" srcOrd="0" destOrd="0" presId="urn:microsoft.com/office/officeart/2005/8/layout/lProcess1"/>
    <dgm:cxn modelId="{D6F526C1-613E-43D5-9078-A76C3EE2EABC}" type="presOf" srcId="{9A3E82FD-E260-4DBE-8E9A-CF5470CF7361}" destId="{8115B093-6973-4960-9189-F4160E758B5E}" srcOrd="0" destOrd="0" presId="urn:microsoft.com/office/officeart/2005/8/layout/lProcess1"/>
    <dgm:cxn modelId="{B27FE3C1-DB98-4294-88D1-F598D3A5BC6C}" type="presOf" srcId="{D5482405-0C10-49EE-95D4-E7C896CB73FA}" destId="{493404C1-5734-4FB5-9856-BC9B40E7CD3A}" srcOrd="0" destOrd="0" presId="urn:microsoft.com/office/officeart/2005/8/layout/lProcess1"/>
    <dgm:cxn modelId="{74CED8C2-792A-4C64-A13D-80C61B21BC86}" type="presOf" srcId="{7F81CFF1-5B5D-40B3-97A2-63298ECDA33D}" destId="{3DFF5457-ABC4-4014-AD47-3F36F67E6A0C}" srcOrd="0" destOrd="0" presId="urn:microsoft.com/office/officeart/2005/8/layout/lProcess1"/>
    <dgm:cxn modelId="{0461F2C7-9107-40C6-89A8-499A69965B38}" srcId="{C1F4D27E-FFA1-4E3C-8CB1-D287B88F7993}" destId="{7F81CFF1-5B5D-40B3-97A2-63298ECDA33D}" srcOrd="1" destOrd="0" parTransId="{7EDAB598-2E81-4AD1-B6A4-ECC0B542E073}" sibTransId="{582D74BB-5A41-4295-B786-9F9D49DB4053}"/>
    <dgm:cxn modelId="{B1DF94CA-CABE-435F-8D80-9C5267DDE061}" srcId="{9A3E82FD-E260-4DBE-8E9A-CF5470CF7361}" destId="{9FC45D92-FC39-4E8B-A883-13BF07CBA334}" srcOrd="2" destOrd="0" parTransId="{EE20B369-42BA-4594-A93C-FF22C3E4A7CE}" sibTransId="{7F21E2E1-3343-42B2-952F-7D66ECAF4F36}"/>
    <dgm:cxn modelId="{66D4F4D3-0B0A-4F08-9D2B-30FC97F2CB57}" type="presOf" srcId="{97F0FB0A-A372-4C7D-A0E8-B4077D7C285D}" destId="{8F589238-B07C-4484-9F16-7E69EEF9134B}" srcOrd="0" destOrd="0" presId="urn:microsoft.com/office/officeart/2005/8/layout/lProcess1"/>
    <dgm:cxn modelId="{9809C0D4-7EEE-40F8-ADA8-7D6464B27C7F}" type="presOf" srcId="{C8DD6338-A671-4018-8C1C-C20CA99037AC}" destId="{73CCE419-EF22-456C-AE72-A2411F95BBC4}" srcOrd="0" destOrd="0" presId="urn:microsoft.com/office/officeart/2005/8/layout/lProcess1"/>
    <dgm:cxn modelId="{579C94D6-E7D0-496A-AA06-A3FA597A4F21}" type="presOf" srcId="{C2ADBC24-38B3-4F0A-AA69-251381257380}" destId="{B4C7C0A9-0FC7-43D3-9F18-19E92C3CBFFB}" srcOrd="0" destOrd="0" presId="urn:microsoft.com/office/officeart/2005/8/layout/lProcess1"/>
    <dgm:cxn modelId="{D36B39DC-C1BA-412C-A5CF-A9566963B253}" srcId="{01E1DF0C-A459-49AA-8F8D-34E69D8DBE3E}" destId="{97F0FB0A-A372-4C7D-A0E8-B4077D7C285D}" srcOrd="0" destOrd="0" parTransId="{C697FECA-46F5-4B97-A6A9-05AA3BC20F50}" sibTransId="{640A359B-9860-4DE5-9ADC-F7D7D72DC85F}"/>
    <dgm:cxn modelId="{CC101BF5-BCCC-47B9-91F5-0C16F6DF2930}" srcId="{C1F4D27E-FFA1-4E3C-8CB1-D287B88F7993}" destId="{97FE6D97-F2BE-45EB-86B4-26ACE34EF4E9}" srcOrd="0" destOrd="0" parTransId="{E1485A84-A6A7-4C1E-917D-70B577E102EA}" sibTransId="{C2ADBC24-38B3-4F0A-AA69-251381257380}"/>
    <dgm:cxn modelId="{C3FA39D4-AAE6-4C94-9953-09464B25AD3C}" type="presParOf" srcId="{BDB444FE-D103-49BE-83CD-D42E04F4C555}" destId="{3079CD18-0A30-47B4-8E4A-053B2D322DA3}" srcOrd="0" destOrd="0" presId="urn:microsoft.com/office/officeart/2005/8/layout/lProcess1"/>
    <dgm:cxn modelId="{EE914677-36D0-44FA-BB39-B7FA5A8DD839}" type="presParOf" srcId="{3079CD18-0A30-47B4-8E4A-053B2D322DA3}" destId="{8F589238-B07C-4484-9F16-7E69EEF9134B}" srcOrd="0" destOrd="0" presId="urn:microsoft.com/office/officeart/2005/8/layout/lProcess1"/>
    <dgm:cxn modelId="{E177559B-AD2B-4463-8E82-EECEB6419AC5}" type="presParOf" srcId="{3079CD18-0A30-47B4-8E4A-053B2D322DA3}" destId="{09B34A7B-8E8E-405F-A696-CB3481C1770F}" srcOrd="1" destOrd="0" presId="urn:microsoft.com/office/officeart/2005/8/layout/lProcess1"/>
    <dgm:cxn modelId="{529A2632-838D-40E4-8164-7BE69CD2AC71}" type="presParOf" srcId="{3079CD18-0A30-47B4-8E4A-053B2D322DA3}" destId="{9F02414D-6762-4411-AF94-7D6AE579AC2E}" srcOrd="2" destOrd="0" presId="urn:microsoft.com/office/officeart/2005/8/layout/lProcess1"/>
    <dgm:cxn modelId="{3D7A7835-1759-4BFB-AA78-804F5A7BC42E}" type="presParOf" srcId="{3079CD18-0A30-47B4-8E4A-053B2D322DA3}" destId="{78220742-9879-4724-A685-E958ACA7C0BB}" srcOrd="3" destOrd="0" presId="urn:microsoft.com/office/officeart/2005/8/layout/lProcess1"/>
    <dgm:cxn modelId="{BF4D2140-7A9E-4054-BBB5-A31835D08868}" type="presParOf" srcId="{3079CD18-0A30-47B4-8E4A-053B2D322DA3}" destId="{59E5FEA0-4646-452D-A099-71776A1B76EF}" srcOrd="4" destOrd="0" presId="urn:microsoft.com/office/officeart/2005/8/layout/lProcess1"/>
    <dgm:cxn modelId="{12686DD9-A56E-4574-B0E0-62F68D888206}" type="presParOf" srcId="{BDB444FE-D103-49BE-83CD-D42E04F4C555}" destId="{FD58EE84-28A2-4E12-AB54-D6C519B6EE8E}" srcOrd="1" destOrd="0" presId="urn:microsoft.com/office/officeart/2005/8/layout/lProcess1"/>
    <dgm:cxn modelId="{281D865C-911F-47A7-A21A-23D82AA0CE01}" type="presParOf" srcId="{BDB444FE-D103-49BE-83CD-D42E04F4C555}" destId="{B3A8B865-B1A8-46DD-A53B-010AFA695AA5}" srcOrd="2" destOrd="0" presId="urn:microsoft.com/office/officeart/2005/8/layout/lProcess1"/>
    <dgm:cxn modelId="{F1C11CEF-BB87-4EB7-9C85-C25B727B28D2}" type="presParOf" srcId="{B3A8B865-B1A8-46DD-A53B-010AFA695AA5}" destId="{8115B093-6973-4960-9189-F4160E758B5E}" srcOrd="0" destOrd="0" presId="urn:microsoft.com/office/officeart/2005/8/layout/lProcess1"/>
    <dgm:cxn modelId="{10A299D1-6894-471C-A44E-9FEB66243759}" type="presParOf" srcId="{B3A8B865-B1A8-46DD-A53B-010AFA695AA5}" destId="{73CCE419-EF22-456C-AE72-A2411F95BBC4}" srcOrd="1" destOrd="0" presId="urn:microsoft.com/office/officeart/2005/8/layout/lProcess1"/>
    <dgm:cxn modelId="{0727B493-483C-4897-9876-EAEF59F5EB99}" type="presParOf" srcId="{B3A8B865-B1A8-46DD-A53B-010AFA695AA5}" destId="{A74AEEEA-7DDE-43DD-83BB-9DD67CCB3BEF}" srcOrd="2" destOrd="0" presId="urn:microsoft.com/office/officeart/2005/8/layout/lProcess1"/>
    <dgm:cxn modelId="{37EC8356-1011-41D3-8774-4CD82C8D59EC}" type="presParOf" srcId="{B3A8B865-B1A8-46DD-A53B-010AFA695AA5}" destId="{493404C1-5734-4FB5-9856-BC9B40E7CD3A}" srcOrd="3" destOrd="0" presId="urn:microsoft.com/office/officeart/2005/8/layout/lProcess1"/>
    <dgm:cxn modelId="{4352ED10-F08B-46D8-BA3F-A9ED11D9333B}" type="presParOf" srcId="{B3A8B865-B1A8-46DD-A53B-010AFA695AA5}" destId="{E41E97DE-F221-40ED-B452-E3A0F5A65BD3}" srcOrd="4" destOrd="0" presId="urn:microsoft.com/office/officeart/2005/8/layout/lProcess1"/>
    <dgm:cxn modelId="{903ED814-5F68-4343-980A-2A352ED5076A}" type="presParOf" srcId="{B3A8B865-B1A8-46DD-A53B-010AFA695AA5}" destId="{50581BFA-EBB1-417B-BB61-A389385DCD61}" srcOrd="5" destOrd="0" presId="urn:microsoft.com/office/officeart/2005/8/layout/lProcess1"/>
    <dgm:cxn modelId="{D0CEE66A-A59D-45CA-A7B5-C9005857D87D}" type="presParOf" srcId="{B3A8B865-B1A8-46DD-A53B-010AFA695AA5}" destId="{D41444C1-8907-454E-BFA9-9EF2A998E5ED}" srcOrd="6" destOrd="0" presId="urn:microsoft.com/office/officeart/2005/8/layout/lProcess1"/>
    <dgm:cxn modelId="{BEC37020-D485-4E92-9E96-1AB6A0D49385}" type="presParOf" srcId="{BDB444FE-D103-49BE-83CD-D42E04F4C555}" destId="{EB2B7C76-8203-4FEB-B619-0F25BC9E27D0}" srcOrd="3" destOrd="0" presId="urn:microsoft.com/office/officeart/2005/8/layout/lProcess1"/>
    <dgm:cxn modelId="{87DC6A47-FAB3-417E-AAC8-0EA6DBE5ABC8}" type="presParOf" srcId="{BDB444FE-D103-49BE-83CD-D42E04F4C555}" destId="{371BB8F0-40A8-41E8-A6BE-E0A04D71862D}" srcOrd="4" destOrd="0" presId="urn:microsoft.com/office/officeart/2005/8/layout/lProcess1"/>
    <dgm:cxn modelId="{1F1DE9BD-3D86-4FE6-AFBD-FA54502B53AB}" type="presParOf" srcId="{371BB8F0-40A8-41E8-A6BE-E0A04D71862D}" destId="{1AE482F8-6E05-453E-8A34-D692ECC99589}" srcOrd="0" destOrd="0" presId="urn:microsoft.com/office/officeart/2005/8/layout/lProcess1"/>
    <dgm:cxn modelId="{D4AACEDB-4C7B-4920-AF1C-46669353C337}" type="presParOf" srcId="{371BB8F0-40A8-41E8-A6BE-E0A04D71862D}" destId="{217EDA0E-4729-47B3-8156-66D175A0FE16}" srcOrd="1" destOrd="0" presId="urn:microsoft.com/office/officeart/2005/8/layout/lProcess1"/>
    <dgm:cxn modelId="{89F2188A-38D7-4058-B917-A9E56C21EE2D}" type="presParOf" srcId="{371BB8F0-40A8-41E8-A6BE-E0A04D71862D}" destId="{2D10722C-077A-43D2-8B37-E38CAFCB0F53}" srcOrd="2" destOrd="0" presId="urn:microsoft.com/office/officeart/2005/8/layout/lProcess1"/>
    <dgm:cxn modelId="{6C9EAE42-F1B1-4485-A700-BA3EE86D549D}" type="presParOf" srcId="{371BB8F0-40A8-41E8-A6BE-E0A04D71862D}" destId="{B4C7C0A9-0FC7-43D3-9F18-19E92C3CBFFB}" srcOrd="3" destOrd="0" presId="urn:microsoft.com/office/officeart/2005/8/layout/lProcess1"/>
    <dgm:cxn modelId="{60E7C142-2E8B-435D-8A59-1529C7BFCD77}" type="presParOf" srcId="{371BB8F0-40A8-41E8-A6BE-E0A04D71862D}" destId="{3DFF5457-ABC4-4014-AD47-3F36F67E6A0C}" srcOrd="4"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1" qsCatId="simple" csTypeId="urn:microsoft.com/office/officeart/2005/8/colors/colorful3" csCatId="colorful" phldr="1"/>
      <dgm:spPr/>
      <dgm:t>
        <a:bodyPr/>
        <a:lstStyle/>
        <a:p>
          <a:endParaRPr lang="en-US"/>
        </a:p>
      </dgm:t>
    </dgm:pt>
    <dgm:pt modelId="{A525CD63-A0B1-45FE-B1BD-3CDF09DA9C76}">
      <dgm:prSet custT="1"/>
      <dgm:spPr/>
      <dgm:t>
        <a:bodyPr/>
        <a:lstStyle/>
        <a:p>
          <a:r>
            <a:rPr lang="en-US" sz="1800" dirty="0"/>
            <a:t>SQL Server Partitioned Tables and Indexes</a:t>
          </a:r>
        </a:p>
      </dgm:t>
    </dgm:pt>
    <dgm:pt modelId="{AF899CE6-0283-4E1D-9CFC-00E191D13123}" type="parTrans" cxnId="{17554D26-BDD2-45C5-ADE3-79E14EBD7E1B}">
      <dgm:prSet/>
      <dgm:spPr/>
      <dgm:t>
        <a:bodyPr/>
        <a:lstStyle/>
        <a:p>
          <a:endParaRPr lang="en-US"/>
        </a:p>
      </dgm:t>
    </dgm:pt>
    <dgm:pt modelId="{05B1EE1D-5EC4-4137-A6DD-D5AE214073E8}" type="sibTrans" cxnId="{17554D26-BDD2-45C5-ADE3-79E14EBD7E1B}">
      <dgm:prSet/>
      <dgm:spPr/>
      <dgm:t>
        <a:bodyPr/>
        <a:lstStyle/>
        <a:p>
          <a:endParaRPr lang="en-US"/>
        </a:p>
      </dgm:t>
    </dgm:pt>
    <dgm:pt modelId="{E8C88AF1-846F-485D-BC8F-BAAD99B7FB78}">
      <dgm:prSet custT="1"/>
      <dgm:spPr/>
      <dgm:t>
        <a:bodyPr/>
        <a:lstStyle/>
        <a:p>
          <a:r>
            <a:rPr lang="en-US" sz="1800" dirty="0"/>
            <a:t>SQL Server Index Monitoring and Fragmentation</a:t>
          </a:r>
        </a:p>
      </dgm:t>
    </dgm:pt>
    <dgm:pt modelId="{EEA068E8-6B63-4A98-98EF-6FD53A27D889}" type="parTrans" cxnId="{E697F587-63F1-4154-8703-E813881CED41}">
      <dgm:prSet/>
      <dgm:spPr/>
      <dgm:t>
        <a:bodyPr/>
        <a:lstStyle/>
        <a:p>
          <a:endParaRPr lang="en-US"/>
        </a:p>
      </dgm:t>
    </dgm:pt>
    <dgm:pt modelId="{97D5DE43-938A-454A-9B3C-CE173067076B}" type="sibTrans" cxnId="{E697F587-63F1-4154-8703-E813881CED41}">
      <dgm:prSet/>
      <dgm:spPr/>
      <dgm:t>
        <a:bodyPr/>
        <a:lstStyle/>
        <a:p>
          <a:endParaRPr lang="en-US"/>
        </a:p>
      </dgm:t>
    </dgm:pt>
    <dgm:pt modelId="{097AB49B-9423-4584-B524-9E6687946D69}">
      <dgm:prSet custT="1"/>
      <dgm:spPr/>
      <dgm:t>
        <a:bodyPr/>
        <a:lstStyle/>
        <a:p>
          <a:r>
            <a:rPr lang="en-US" sz="1800" dirty="0"/>
            <a:t>Module 4: SQL Server Concurrency and Transactions</a:t>
          </a:r>
        </a:p>
      </dgm:t>
    </dgm:pt>
    <dgm:pt modelId="{2C2221FF-CF6C-423E-8D6A-2FBF16CF6D95}" type="parTrans" cxnId="{FB6F2025-1AA0-41EC-B32A-EF00F4A6F18B}">
      <dgm:prSet/>
      <dgm:spPr/>
      <dgm:t>
        <a:bodyPr/>
        <a:lstStyle/>
        <a:p>
          <a:endParaRPr lang="en-US"/>
        </a:p>
      </dgm:t>
    </dgm:pt>
    <dgm:pt modelId="{378F082E-57E5-4283-B914-49514675C653}" type="sibTrans" cxnId="{FB6F2025-1AA0-41EC-B32A-EF00F4A6F18B}">
      <dgm:prSet/>
      <dgm:spPr/>
      <dgm:t>
        <a:bodyPr/>
        <a:lstStyle/>
        <a:p>
          <a:endParaRPr lang="en-US"/>
        </a:p>
      </dgm:t>
    </dgm:pt>
    <dgm:pt modelId="{04F1AF6C-00F9-46ED-906F-1D4AD8956A7A}">
      <dgm:prSet custT="1"/>
      <dgm:spPr/>
      <dgm:t>
        <a:bodyPr/>
        <a:lstStyle/>
        <a:p>
          <a:r>
            <a:rPr lang="en-US" sz="1800" dirty="0"/>
            <a:t>SQL Server Index Internals &amp; Indexing Strategies</a:t>
          </a:r>
        </a:p>
      </dgm:t>
    </dgm:pt>
    <dgm:pt modelId="{12C85811-A6A2-47CE-A2E9-85A5051B7E67}" type="parTrans" cxnId="{0EF4C01C-6865-4B20-8905-FD838A8CD284}">
      <dgm:prSet/>
      <dgm:spPr/>
      <dgm:t>
        <a:bodyPr/>
        <a:lstStyle/>
        <a:p>
          <a:endParaRPr lang="en-US"/>
        </a:p>
      </dgm:t>
    </dgm:pt>
    <dgm:pt modelId="{92FFA868-6682-44C7-8EA0-3F595A80418A}" type="sibTrans" cxnId="{0EF4C01C-6865-4B20-8905-FD838A8CD284}">
      <dgm:prSet/>
      <dgm:spPr/>
      <dgm:t>
        <a:bodyPr/>
        <a:lstStyle/>
        <a:p>
          <a:endParaRPr lang="en-US"/>
        </a:p>
      </dgm:t>
    </dgm:pt>
    <dgm:pt modelId="{39E00532-15CA-4C9D-B772-CB724690365C}">
      <dgm:prSet custT="1"/>
      <dgm:spPr/>
      <dgm:t>
        <a:bodyPr/>
        <a:lstStyle/>
        <a:p>
          <a:r>
            <a:rPr lang="en-US" sz="1800" dirty="0"/>
            <a:t>SQL Server Locking</a:t>
          </a:r>
        </a:p>
      </dgm:t>
    </dgm:pt>
    <dgm:pt modelId="{21EFA273-B845-4805-94D5-9A78B64958AA}" type="parTrans" cxnId="{09C90FAD-9BB7-43BF-A85C-44F4B073635A}">
      <dgm:prSet/>
      <dgm:spPr/>
      <dgm:t>
        <a:bodyPr/>
        <a:lstStyle/>
        <a:p>
          <a:endParaRPr lang="en-US"/>
        </a:p>
      </dgm:t>
    </dgm:pt>
    <dgm:pt modelId="{98E0ABBF-297E-46D4-A8C5-FCED680E60D2}" type="sibTrans" cxnId="{09C90FAD-9BB7-43BF-A85C-44F4B073635A}">
      <dgm:prSet/>
      <dgm:spPr/>
      <dgm:t>
        <a:bodyPr/>
        <a:lstStyle/>
        <a:p>
          <a:endParaRPr lang="en-US"/>
        </a:p>
      </dgm:t>
    </dgm:pt>
    <dgm:pt modelId="{37B31EB8-9A47-453C-92C7-A4FAFD9BD7A4}">
      <dgm:prSet custT="1"/>
      <dgm:spPr/>
      <dgm:t>
        <a:bodyPr/>
        <a:lstStyle/>
        <a:p>
          <a:r>
            <a:rPr lang="en-US" sz="1800" dirty="0"/>
            <a:t>Module 5: SQL Server Index Structure</a:t>
          </a:r>
        </a:p>
      </dgm:t>
    </dgm:pt>
    <dgm:pt modelId="{FE3DBF16-C23D-475F-AC6C-D7A1EF66D3B9}" type="parTrans" cxnId="{CA757357-3C42-4F3E-9778-4EC488E2EB0B}">
      <dgm:prSet/>
      <dgm:spPr/>
      <dgm:t>
        <a:bodyPr/>
        <a:lstStyle/>
        <a:p>
          <a:endParaRPr lang="en-US"/>
        </a:p>
      </dgm:t>
    </dgm:pt>
    <dgm:pt modelId="{E32F17FF-5339-413B-9E9E-EE425CC137A8}" type="sibTrans" cxnId="{CA757357-3C42-4F3E-9778-4EC488E2EB0B}">
      <dgm:prSet/>
      <dgm:spPr/>
      <dgm:t>
        <a:bodyPr/>
        <a:lstStyle/>
        <a:p>
          <a:endParaRPr lang="en-US"/>
        </a:p>
      </dgm:t>
    </dgm:pt>
    <dgm:pt modelId="{C7D55DED-B5D3-45B7-98E8-303E53849D02}">
      <dgm:prSet custT="1"/>
      <dgm:spPr/>
      <dgm:t>
        <a:bodyPr/>
        <a:lstStyle/>
        <a:p>
          <a:r>
            <a:rPr lang="en-US" sz="1800" dirty="0"/>
            <a:t>Blocking and Deadlocking</a:t>
          </a:r>
        </a:p>
      </dgm:t>
    </dgm:pt>
    <dgm:pt modelId="{BD19B2B7-57AF-4F93-B0A5-6DDC2F49A1F9}" type="parTrans" cxnId="{4A99BAC8-1FF8-4635-87DE-02C4D2279033}">
      <dgm:prSet/>
      <dgm:spPr/>
      <dgm:t>
        <a:bodyPr/>
        <a:lstStyle/>
        <a:p>
          <a:endParaRPr lang="en-US"/>
        </a:p>
      </dgm:t>
    </dgm:pt>
    <dgm:pt modelId="{75B371F6-EC8C-461F-89B2-DD7071908047}" type="sibTrans" cxnId="{4A99BAC8-1FF8-4635-87DE-02C4D2279033}">
      <dgm:prSet/>
      <dgm:spPr/>
      <dgm:t>
        <a:bodyPr/>
        <a:lstStyle/>
        <a:p>
          <a:endParaRPr lang="en-US"/>
        </a:p>
      </dgm:t>
    </dgm:pt>
    <dgm:pt modelId="{B278BDC7-C0C1-452F-8926-6F4F0035AF39}" type="pres">
      <dgm:prSet presAssocID="{01E1DF0C-A459-49AA-8F8D-34E69D8DBE3E}" presName="Name0" presStyleCnt="0">
        <dgm:presLayoutVars>
          <dgm:dir/>
          <dgm:animLvl val="lvl"/>
          <dgm:resizeHandles val="exact"/>
        </dgm:presLayoutVars>
      </dgm:prSet>
      <dgm:spPr/>
    </dgm:pt>
    <dgm:pt modelId="{66CACA75-C68B-4239-B9C5-2BFA130D20CB}" type="pres">
      <dgm:prSet presAssocID="{097AB49B-9423-4584-B524-9E6687946D69}" presName="vertFlow" presStyleCnt="0"/>
      <dgm:spPr/>
    </dgm:pt>
    <dgm:pt modelId="{456B6B84-9C17-4CF6-9704-040B25E3BCB8}" type="pres">
      <dgm:prSet presAssocID="{097AB49B-9423-4584-B524-9E6687946D69}" presName="header" presStyleLbl="node1" presStyleIdx="0" presStyleCnt="2"/>
      <dgm:spPr/>
    </dgm:pt>
    <dgm:pt modelId="{EB5245F3-1E29-4FE7-86D8-302E7E048A0A}" type="pres">
      <dgm:prSet presAssocID="{21EFA273-B845-4805-94D5-9A78B64958AA}" presName="parTrans" presStyleLbl="sibTrans2D1" presStyleIdx="0" presStyleCnt="5"/>
      <dgm:spPr/>
    </dgm:pt>
    <dgm:pt modelId="{3508127A-B0DF-493E-8187-536ABE85E212}" type="pres">
      <dgm:prSet presAssocID="{39E00532-15CA-4C9D-B772-CB724690365C}" presName="child" presStyleLbl="alignAccFollowNode1" presStyleIdx="0" presStyleCnt="5">
        <dgm:presLayoutVars>
          <dgm:chMax val="0"/>
          <dgm:bulletEnabled val="1"/>
        </dgm:presLayoutVars>
      </dgm:prSet>
      <dgm:spPr/>
    </dgm:pt>
    <dgm:pt modelId="{84F7972F-F7C0-4B34-8EA3-D65465B9C73E}" type="pres">
      <dgm:prSet presAssocID="{98E0ABBF-297E-46D4-A8C5-FCED680E60D2}" presName="sibTrans" presStyleLbl="sibTrans2D1" presStyleIdx="1" presStyleCnt="5"/>
      <dgm:spPr/>
    </dgm:pt>
    <dgm:pt modelId="{019A7547-4616-43EA-9B5E-F5C5D5563DDF}" type="pres">
      <dgm:prSet presAssocID="{C7D55DED-B5D3-45B7-98E8-303E53849D02}" presName="child" presStyleLbl="alignAccFollowNode1" presStyleIdx="1" presStyleCnt="5">
        <dgm:presLayoutVars>
          <dgm:chMax val="0"/>
          <dgm:bulletEnabled val="1"/>
        </dgm:presLayoutVars>
      </dgm:prSet>
      <dgm:spPr/>
    </dgm:pt>
    <dgm:pt modelId="{ED074D77-91E5-46A7-89FF-8C667E8359BE}" type="pres">
      <dgm:prSet presAssocID="{097AB49B-9423-4584-B524-9E6687946D69}" presName="hSp" presStyleCnt="0"/>
      <dgm:spPr/>
    </dgm:pt>
    <dgm:pt modelId="{8948E2B4-2289-4306-9072-CBC808128BA3}" type="pres">
      <dgm:prSet presAssocID="{37B31EB8-9A47-453C-92C7-A4FAFD9BD7A4}" presName="vertFlow" presStyleCnt="0"/>
      <dgm:spPr/>
    </dgm:pt>
    <dgm:pt modelId="{F2340A44-7140-479E-84B5-E33CFCFDB9FC}" type="pres">
      <dgm:prSet presAssocID="{37B31EB8-9A47-453C-92C7-A4FAFD9BD7A4}" presName="header" presStyleLbl="node1" presStyleIdx="1" presStyleCnt="2"/>
      <dgm:spPr/>
    </dgm:pt>
    <dgm:pt modelId="{71FC2BA3-BE5F-4E02-BF47-D8E06BDCADDB}" type="pres">
      <dgm:prSet presAssocID="{12C85811-A6A2-47CE-A2E9-85A5051B7E67}" presName="parTrans" presStyleLbl="sibTrans2D1" presStyleIdx="2" presStyleCnt="5"/>
      <dgm:spPr/>
    </dgm:pt>
    <dgm:pt modelId="{35E1BF72-7835-4544-9067-1BC6DB55F725}" type="pres">
      <dgm:prSet presAssocID="{04F1AF6C-00F9-46ED-906F-1D4AD8956A7A}" presName="child" presStyleLbl="alignAccFollowNode1" presStyleIdx="2" presStyleCnt="5">
        <dgm:presLayoutVars>
          <dgm:chMax val="0"/>
          <dgm:bulletEnabled val="1"/>
        </dgm:presLayoutVars>
      </dgm:prSet>
      <dgm:spPr/>
    </dgm:pt>
    <dgm:pt modelId="{6436E580-6CA7-4CED-BA6F-63642060C5CA}" type="pres">
      <dgm:prSet presAssocID="{92FFA868-6682-44C7-8EA0-3F595A80418A}" presName="sibTrans" presStyleLbl="sibTrans2D1" presStyleIdx="3" presStyleCnt="5"/>
      <dgm:spPr/>
    </dgm:pt>
    <dgm:pt modelId="{F348DA9E-2B34-4DC6-906C-BB27E77097AC}" type="pres">
      <dgm:prSet presAssocID="{A525CD63-A0B1-45FE-B1BD-3CDF09DA9C76}" presName="child" presStyleLbl="alignAccFollowNode1" presStyleIdx="3" presStyleCnt="5">
        <dgm:presLayoutVars>
          <dgm:chMax val="0"/>
          <dgm:bulletEnabled val="1"/>
        </dgm:presLayoutVars>
      </dgm:prSet>
      <dgm:spPr/>
    </dgm:pt>
    <dgm:pt modelId="{7A7C894C-E4CD-4071-B2B3-4759C6358249}" type="pres">
      <dgm:prSet presAssocID="{05B1EE1D-5EC4-4137-A6DD-D5AE214073E8}" presName="sibTrans" presStyleLbl="sibTrans2D1" presStyleIdx="4" presStyleCnt="5"/>
      <dgm:spPr/>
    </dgm:pt>
    <dgm:pt modelId="{5FC51080-D634-4A57-9B84-DB04CE8BF742}" type="pres">
      <dgm:prSet presAssocID="{E8C88AF1-846F-485D-BC8F-BAAD99B7FB78}" presName="child" presStyleLbl="alignAccFollowNode1" presStyleIdx="4" presStyleCnt="5">
        <dgm:presLayoutVars>
          <dgm:chMax val="0"/>
          <dgm:bulletEnabled val="1"/>
        </dgm:presLayoutVars>
      </dgm:prSet>
      <dgm:spPr/>
    </dgm:pt>
  </dgm:ptLst>
  <dgm:cxnLst>
    <dgm:cxn modelId="{989D0509-F206-496E-AC54-1063645E412D}" type="presOf" srcId="{C7D55DED-B5D3-45B7-98E8-303E53849D02}" destId="{019A7547-4616-43EA-9B5E-F5C5D5563DDF}" srcOrd="0" destOrd="0" presId="urn:microsoft.com/office/officeart/2005/8/layout/lProcess1"/>
    <dgm:cxn modelId="{0EF4C01C-6865-4B20-8905-FD838A8CD284}" srcId="{37B31EB8-9A47-453C-92C7-A4FAFD9BD7A4}" destId="{04F1AF6C-00F9-46ED-906F-1D4AD8956A7A}" srcOrd="0" destOrd="0" parTransId="{12C85811-A6A2-47CE-A2E9-85A5051B7E67}" sibTransId="{92FFA868-6682-44C7-8EA0-3F595A80418A}"/>
    <dgm:cxn modelId="{FB6F2025-1AA0-41EC-B32A-EF00F4A6F18B}" srcId="{01E1DF0C-A459-49AA-8F8D-34E69D8DBE3E}" destId="{097AB49B-9423-4584-B524-9E6687946D69}" srcOrd="0" destOrd="0" parTransId="{2C2221FF-CF6C-423E-8D6A-2FBF16CF6D95}" sibTransId="{378F082E-57E5-4283-B914-49514675C653}"/>
    <dgm:cxn modelId="{17554D26-BDD2-45C5-ADE3-79E14EBD7E1B}" srcId="{37B31EB8-9A47-453C-92C7-A4FAFD9BD7A4}" destId="{A525CD63-A0B1-45FE-B1BD-3CDF09DA9C76}" srcOrd="1" destOrd="0" parTransId="{AF899CE6-0283-4E1D-9CFC-00E191D13123}" sibTransId="{05B1EE1D-5EC4-4137-A6DD-D5AE214073E8}"/>
    <dgm:cxn modelId="{062C2E35-C7F4-4DAE-8527-BA9955FA26D2}" type="presOf" srcId="{21EFA273-B845-4805-94D5-9A78B64958AA}" destId="{EB5245F3-1E29-4FE7-86D8-302E7E048A0A}" srcOrd="0" destOrd="0" presId="urn:microsoft.com/office/officeart/2005/8/layout/lProcess1"/>
    <dgm:cxn modelId="{99880A39-88B8-4A83-824D-FF9C6ECA920C}" type="presOf" srcId="{097AB49B-9423-4584-B524-9E6687946D69}" destId="{456B6B84-9C17-4CF6-9704-040B25E3BCB8}" srcOrd="0" destOrd="0" presId="urn:microsoft.com/office/officeart/2005/8/layout/lProcess1"/>
    <dgm:cxn modelId="{C6E5B15C-B03B-4FD1-B49C-82770DC4A2AE}" type="presOf" srcId="{39E00532-15CA-4C9D-B772-CB724690365C}" destId="{3508127A-B0DF-493E-8187-536ABE85E212}" srcOrd="0" destOrd="0" presId="urn:microsoft.com/office/officeart/2005/8/layout/lProcess1"/>
    <dgm:cxn modelId="{283BC461-D626-4449-AD7D-088B964136AF}" type="presOf" srcId="{A525CD63-A0B1-45FE-B1BD-3CDF09DA9C76}" destId="{F348DA9E-2B34-4DC6-906C-BB27E77097AC}" srcOrd="0" destOrd="0" presId="urn:microsoft.com/office/officeart/2005/8/layout/lProcess1"/>
    <dgm:cxn modelId="{E01D456A-25B1-411A-AED4-CF24EE2D7E44}" type="presOf" srcId="{E8C88AF1-846F-485D-BC8F-BAAD99B7FB78}" destId="{5FC51080-D634-4A57-9B84-DB04CE8BF742}" srcOrd="0" destOrd="0" presId="urn:microsoft.com/office/officeart/2005/8/layout/lProcess1"/>
    <dgm:cxn modelId="{AC060A50-F8FE-4044-9A4F-7773D9D567FB}" type="presOf" srcId="{92FFA868-6682-44C7-8EA0-3F595A80418A}" destId="{6436E580-6CA7-4CED-BA6F-63642060C5CA}" srcOrd="0" destOrd="0" presId="urn:microsoft.com/office/officeart/2005/8/layout/lProcess1"/>
    <dgm:cxn modelId="{CA757357-3C42-4F3E-9778-4EC488E2EB0B}" srcId="{01E1DF0C-A459-49AA-8F8D-34E69D8DBE3E}" destId="{37B31EB8-9A47-453C-92C7-A4FAFD9BD7A4}" srcOrd="1" destOrd="0" parTransId="{FE3DBF16-C23D-475F-AC6C-D7A1EF66D3B9}" sibTransId="{E32F17FF-5339-413B-9E9E-EE425CC137A8}"/>
    <dgm:cxn modelId="{9CC0F17E-3B2A-4368-8BF5-C8890B4AEACA}" type="presOf" srcId="{01E1DF0C-A459-49AA-8F8D-34E69D8DBE3E}" destId="{B278BDC7-C0C1-452F-8926-6F4F0035AF39}" srcOrd="0" destOrd="0" presId="urn:microsoft.com/office/officeart/2005/8/layout/lProcess1"/>
    <dgm:cxn modelId="{E697F587-63F1-4154-8703-E813881CED41}" srcId="{37B31EB8-9A47-453C-92C7-A4FAFD9BD7A4}" destId="{E8C88AF1-846F-485D-BC8F-BAAD99B7FB78}" srcOrd="2" destOrd="0" parTransId="{EEA068E8-6B63-4A98-98EF-6FD53A27D889}" sibTransId="{97D5DE43-938A-454A-9B3C-CE173067076B}"/>
    <dgm:cxn modelId="{09C90FAD-9BB7-43BF-A85C-44F4B073635A}" srcId="{097AB49B-9423-4584-B524-9E6687946D69}" destId="{39E00532-15CA-4C9D-B772-CB724690365C}" srcOrd="0" destOrd="0" parTransId="{21EFA273-B845-4805-94D5-9A78B64958AA}" sibTransId="{98E0ABBF-297E-46D4-A8C5-FCED680E60D2}"/>
    <dgm:cxn modelId="{2214CBB0-D979-4F09-B66D-AB631C149DC3}" type="presOf" srcId="{05B1EE1D-5EC4-4137-A6DD-D5AE214073E8}" destId="{7A7C894C-E4CD-4071-B2B3-4759C6358249}" srcOrd="0" destOrd="0" presId="urn:microsoft.com/office/officeart/2005/8/layout/lProcess1"/>
    <dgm:cxn modelId="{4A99BAC8-1FF8-4635-87DE-02C4D2279033}" srcId="{097AB49B-9423-4584-B524-9E6687946D69}" destId="{C7D55DED-B5D3-45B7-98E8-303E53849D02}" srcOrd="1" destOrd="0" parTransId="{BD19B2B7-57AF-4F93-B0A5-6DDC2F49A1F9}" sibTransId="{75B371F6-EC8C-461F-89B2-DD7071908047}"/>
    <dgm:cxn modelId="{DA13A5D2-4B76-466D-A75F-5AE4D65CA787}" type="presOf" srcId="{04F1AF6C-00F9-46ED-906F-1D4AD8956A7A}" destId="{35E1BF72-7835-4544-9067-1BC6DB55F725}" srcOrd="0" destOrd="0" presId="urn:microsoft.com/office/officeart/2005/8/layout/lProcess1"/>
    <dgm:cxn modelId="{62ED73DC-8D83-4BD3-A2CE-DD575FA37485}" type="presOf" srcId="{37B31EB8-9A47-453C-92C7-A4FAFD9BD7A4}" destId="{F2340A44-7140-479E-84B5-E33CFCFDB9FC}" srcOrd="0" destOrd="0" presId="urn:microsoft.com/office/officeart/2005/8/layout/lProcess1"/>
    <dgm:cxn modelId="{21203EE8-EA7F-4953-8FEA-8F3788AE8127}" type="presOf" srcId="{98E0ABBF-297E-46D4-A8C5-FCED680E60D2}" destId="{84F7972F-F7C0-4B34-8EA3-D65465B9C73E}" srcOrd="0" destOrd="0" presId="urn:microsoft.com/office/officeart/2005/8/layout/lProcess1"/>
    <dgm:cxn modelId="{00552AF1-3874-4EB2-95C6-29F63B61F921}" type="presOf" srcId="{12C85811-A6A2-47CE-A2E9-85A5051B7E67}" destId="{71FC2BA3-BE5F-4E02-BF47-D8E06BDCADDB}" srcOrd="0" destOrd="0" presId="urn:microsoft.com/office/officeart/2005/8/layout/lProcess1"/>
    <dgm:cxn modelId="{C7986782-6946-47F8-BA60-EBF931C0A094}" type="presParOf" srcId="{B278BDC7-C0C1-452F-8926-6F4F0035AF39}" destId="{66CACA75-C68B-4239-B9C5-2BFA130D20CB}" srcOrd="0" destOrd="0" presId="urn:microsoft.com/office/officeart/2005/8/layout/lProcess1"/>
    <dgm:cxn modelId="{9B96751E-F2D0-450C-B9A4-8C839B64A366}" type="presParOf" srcId="{66CACA75-C68B-4239-B9C5-2BFA130D20CB}" destId="{456B6B84-9C17-4CF6-9704-040B25E3BCB8}" srcOrd="0" destOrd="0" presId="urn:microsoft.com/office/officeart/2005/8/layout/lProcess1"/>
    <dgm:cxn modelId="{B1F0CF91-6C4E-4520-AF4D-D9DF3484E363}" type="presParOf" srcId="{66CACA75-C68B-4239-B9C5-2BFA130D20CB}" destId="{EB5245F3-1E29-4FE7-86D8-302E7E048A0A}" srcOrd="1" destOrd="0" presId="urn:microsoft.com/office/officeart/2005/8/layout/lProcess1"/>
    <dgm:cxn modelId="{514097FB-1116-4772-9B4C-BB504ACEFBF8}" type="presParOf" srcId="{66CACA75-C68B-4239-B9C5-2BFA130D20CB}" destId="{3508127A-B0DF-493E-8187-536ABE85E212}" srcOrd="2" destOrd="0" presId="urn:microsoft.com/office/officeart/2005/8/layout/lProcess1"/>
    <dgm:cxn modelId="{D3F72616-1AB9-4DA0-867A-9E86F804A70B}" type="presParOf" srcId="{66CACA75-C68B-4239-B9C5-2BFA130D20CB}" destId="{84F7972F-F7C0-4B34-8EA3-D65465B9C73E}" srcOrd="3" destOrd="0" presId="urn:microsoft.com/office/officeart/2005/8/layout/lProcess1"/>
    <dgm:cxn modelId="{E8955752-DA42-472E-A98B-36A174EAB30B}" type="presParOf" srcId="{66CACA75-C68B-4239-B9C5-2BFA130D20CB}" destId="{019A7547-4616-43EA-9B5E-F5C5D5563DDF}" srcOrd="4" destOrd="0" presId="urn:microsoft.com/office/officeart/2005/8/layout/lProcess1"/>
    <dgm:cxn modelId="{F9287751-8BDA-4A2F-83EC-C625110F9229}" type="presParOf" srcId="{B278BDC7-C0C1-452F-8926-6F4F0035AF39}" destId="{ED074D77-91E5-46A7-89FF-8C667E8359BE}" srcOrd="1" destOrd="0" presId="urn:microsoft.com/office/officeart/2005/8/layout/lProcess1"/>
    <dgm:cxn modelId="{857CC7CA-2930-430B-83D0-064DF2771939}" type="presParOf" srcId="{B278BDC7-C0C1-452F-8926-6F4F0035AF39}" destId="{8948E2B4-2289-4306-9072-CBC808128BA3}" srcOrd="2" destOrd="0" presId="urn:microsoft.com/office/officeart/2005/8/layout/lProcess1"/>
    <dgm:cxn modelId="{A68FCCB3-2A7F-46C7-ADFA-797D8976D8E2}" type="presParOf" srcId="{8948E2B4-2289-4306-9072-CBC808128BA3}" destId="{F2340A44-7140-479E-84B5-E33CFCFDB9FC}" srcOrd="0" destOrd="0" presId="urn:microsoft.com/office/officeart/2005/8/layout/lProcess1"/>
    <dgm:cxn modelId="{86DE4DDB-50A4-4F56-941B-755FA80BD462}" type="presParOf" srcId="{8948E2B4-2289-4306-9072-CBC808128BA3}" destId="{71FC2BA3-BE5F-4E02-BF47-D8E06BDCADDB}" srcOrd="1" destOrd="0" presId="urn:microsoft.com/office/officeart/2005/8/layout/lProcess1"/>
    <dgm:cxn modelId="{331F62E1-B386-430F-8CA2-EC1513736BFA}" type="presParOf" srcId="{8948E2B4-2289-4306-9072-CBC808128BA3}" destId="{35E1BF72-7835-4544-9067-1BC6DB55F725}" srcOrd="2" destOrd="0" presId="urn:microsoft.com/office/officeart/2005/8/layout/lProcess1"/>
    <dgm:cxn modelId="{843ED7B5-C2A6-46E1-BB9B-B52D6D518C7C}" type="presParOf" srcId="{8948E2B4-2289-4306-9072-CBC808128BA3}" destId="{6436E580-6CA7-4CED-BA6F-63642060C5CA}" srcOrd="3" destOrd="0" presId="urn:microsoft.com/office/officeart/2005/8/layout/lProcess1"/>
    <dgm:cxn modelId="{CC7A0B02-391B-4C0D-B211-7719241E1A6F}" type="presParOf" srcId="{8948E2B4-2289-4306-9072-CBC808128BA3}" destId="{F348DA9E-2B34-4DC6-906C-BB27E77097AC}" srcOrd="4" destOrd="0" presId="urn:microsoft.com/office/officeart/2005/8/layout/lProcess1"/>
    <dgm:cxn modelId="{B5C6F611-1DBB-4144-8CE1-522DB2E094C1}" type="presParOf" srcId="{8948E2B4-2289-4306-9072-CBC808128BA3}" destId="{7A7C894C-E4CD-4071-B2B3-4759C6358249}" srcOrd="5" destOrd="0" presId="urn:microsoft.com/office/officeart/2005/8/layout/lProcess1"/>
    <dgm:cxn modelId="{AE500758-686F-4E9E-BDA8-5EF3C7A8BB89}" type="presParOf" srcId="{8948E2B4-2289-4306-9072-CBC808128BA3}" destId="{5FC51080-D634-4A57-9B84-DB04CE8BF742}" srcOrd="6"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2" qsCatId="simple" csTypeId="urn:microsoft.com/office/officeart/2005/8/colors/colorful3" csCatId="colorful" phldr="1"/>
      <dgm:spPr/>
      <dgm:t>
        <a:bodyPr/>
        <a:lstStyle/>
        <a:p>
          <a:endParaRPr lang="en-US"/>
        </a:p>
      </dgm:t>
    </dgm:pt>
    <dgm:pt modelId="{8B163301-8801-428E-AA6D-7D7CE3FA5EBA}">
      <dgm:prSet custT="1"/>
      <dgm:spPr/>
      <dgm:t>
        <a:bodyPr/>
        <a:lstStyle/>
        <a:p>
          <a:r>
            <a:rPr lang="en-US" sz="2000" dirty="0"/>
            <a:t>SQL Server Plan Cache Internals</a:t>
          </a:r>
        </a:p>
      </dgm:t>
    </dgm:pt>
    <dgm:pt modelId="{85652CBE-858C-4E30-9D37-34D1696CF931}" type="parTrans" cxnId="{4EB46BAA-6A14-4BD7-A5FE-551959E78F6D}">
      <dgm:prSet/>
      <dgm:spPr/>
      <dgm:t>
        <a:bodyPr/>
        <a:lstStyle/>
        <a:p>
          <a:endParaRPr lang="en-US"/>
        </a:p>
      </dgm:t>
    </dgm:pt>
    <dgm:pt modelId="{A178A52A-A530-45CE-96BD-165875BEE533}" type="sibTrans" cxnId="{4EB46BAA-6A14-4BD7-A5FE-551959E78F6D}">
      <dgm:prSet/>
      <dgm:spPr/>
      <dgm:t>
        <a:bodyPr/>
        <a:lstStyle/>
        <a:p>
          <a:endParaRPr lang="en-US"/>
        </a:p>
      </dgm:t>
    </dgm:pt>
    <dgm:pt modelId="{98579CD9-E5EE-4C8C-B0EF-1796DC39FD8C}">
      <dgm:prSet custT="1"/>
      <dgm:spPr/>
      <dgm:t>
        <a:bodyPr/>
        <a:lstStyle/>
        <a:p>
          <a:r>
            <a:rPr lang="en-US" sz="2000" dirty="0"/>
            <a:t>Query Store</a:t>
          </a:r>
        </a:p>
      </dgm:t>
    </dgm:pt>
    <dgm:pt modelId="{CA9EC589-436E-45E0-A200-18B894B3FCF8}" type="parTrans" cxnId="{17D57396-A6B9-4F8C-BA7C-B60DA34439E3}">
      <dgm:prSet/>
      <dgm:spPr/>
      <dgm:t>
        <a:bodyPr/>
        <a:lstStyle/>
        <a:p>
          <a:endParaRPr lang="en-US"/>
        </a:p>
      </dgm:t>
    </dgm:pt>
    <dgm:pt modelId="{3732ABD6-91AF-4C0D-9706-2B6A53BB48F9}" type="sibTrans" cxnId="{17D57396-A6B9-4F8C-BA7C-B60DA34439E3}">
      <dgm:prSet/>
      <dgm:spPr/>
      <dgm:t>
        <a:bodyPr/>
        <a:lstStyle/>
        <a:p>
          <a:endParaRPr lang="en-US"/>
        </a:p>
      </dgm:t>
    </dgm:pt>
    <dgm:pt modelId="{412D857B-2942-4120-B830-DC52BC925169}">
      <dgm:prSet custT="1"/>
      <dgm:spPr/>
      <dgm:t>
        <a:bodyPr/>
        <a:lstStyle/>
        <a:p>
          <a:r>
            <a:rPr lang="en-US" sz="2000" dirty="0"/>
            <a:t>Query Store Troubleshooting</a:t>
          </a:r>
        </a:p>
      </dgm:t>
    </dgm:pt>
    <dgm:pt modelId="{3DC6EB9B-B6C0-4AFC-B84D-9B00664FFA2C}" type="parTrans" cxnId="{E82E54B6-A3FA-4643-89DF-FF7BBAA7F0DA}">
      <dgm:prSet/>
      <dgm:spPr/>
      <dgm:t>
        <a:bodyPr/>
        <a:lstStyle/>
        <a:p>
          <a:endParaRPr lang="en-US"/>
        </a:p>
      </dgm:t>
    </dgm:pt>
    <dgm:pt modelId="{A3B6B6FF-CEE4-4135-AE3B-18F75F1A5A2B}" type="sibTrans" cxnId="{E82E54B6-A3FA-4643-89DF-FF7BBAA7F0DA}">
      <dgm:prSet/>
      <dgm:spPr/>
      <dgm:t>
        <a:bodyPr/>
        <a:lstStyle/>
        <a:p>
          <a:endParaRPr lang="en-US"/>
        </a:p>
      </dgm:t>
    </dgm:pt>
    <dgm:pt modelId="{42F07F62-1218-4963-BAB3-C2A2D64707F7}">
      <dgm:prSet custT="1"/>
      <dgm:spPr/>
      <dgm:t>
        <a:bodyPr/>
        <a:lstStyle/>
        <a:p>
          <a:r>
            <a:rPr lang="en-US" sz="2000" dirty="0"/>
            <a:t>Module 6: SQL Server Statistics Structure</a:t>
          </a:r>
        </a:p>
      </dgm:t>
    </dgm:pt>
    <dgm:pt modelId="{F571CF1F-0463-42DA-A104-087A70D1C209}" type="parTrans" cxnId="{F8A1EEA4-5C94-41B7-B7FB-69336FD1F38F}">
      <dgm:prSet/>
      <dgm:spPr/>
      <dgm:t>
        <a:bodyPr/>
        <a:lstStyle/>
        <a:p>
          <a:endParaRPr lang="en-US"/>
        </a:p>
      </dgm:t>
    </dgm:pt>
    <dgm:pt modelId="{37E6AC21-4757-4293-8DB4-193A2130633A}" type="sibTrans" cxnId="{F8A1EEA4-5C94-41B7-B7FB-69336FD1F38F}">
      <dgm:prSet/>
      <dgm:spPr/>
      <dgm:t>
        <a:bodyPr/>
        <a:lstStyle/>
        <a:p>
          <a:endParaRPr lang="en-US"/>
        </a:p>
      </dgm:t>
    </dgm:pt>
    <dgm:pt modelId="{A8F99E74-012D-426A-BBC7-A01431A736CE}">
      <dgm:prSet custT="1"/>
      <dgm:spPr/>
      <dgm:t>
        <a:bodyPr/>
        <a:lstStyle/>
        <a:p>
          <a:r>
            <a:rPr lang="en-US" sz="2000" dirty="0"/>
            <a:t>SQL Server Query Execution</a:t>
          </a:r>
        </a:p>
      </dgm:t>
    </dgm:pt>
    <dgm:pt modelId="{DD094F2F-0DE4-4E46-8299-F00362C6E2BD}" type="parTrans" cxnId="{0EF24C0A-5D35-4435-BAA7-9675DCF23202}">
      <dgm:prSet/>
      <dgm:spPr/>
      <dgm:t>
        <a:bodyPr/>
        <a:lstStyle/>
        <a:p>
          <a:endParaRPr lang="en-US"/>
        </a:p>
      </dgm:t>
    </dgm:pt>
    <dgm:pt modelId="{C8F6A8CE-F770-4442-B86B-AD486A1E7E18}" type="sibTrans" cxnId="{0EF24C0A-5D35-4435-BAA7-9675DCF23202}">
      <dgm:prSet/>
      <dgm:spPr/>
      <dgm:t>
        <a:bodyPr/>
        <a:lstStyle/>
        <a:p>
          <a:endParaRPr lang="en-US"/>
        </a:p>
      </dgm:t>
    </dgm:pt>
    <dgm:pt modelId="{9D4C4C89-52DD-4FDE-B0BC-ACAC98EB9DC4}">
      <dgm:prSet custT="1"/>
      <dgm:spPr/>
      <dgm:t>
        <a:bodyPr/>
        <a:lstStyle/>
        <a:p>
          <a:r>
            <a:rPr lang="en-US" sz="2000" dirty="0"/>
            <a:t>SQL Server Query Plan Analysis</a:t>
          </a:r>
        </a:p>
      </dgm:t>
    </dgm:pt>
    <dgm:pt modelId="{D4506C9D-C993-4152-9F5B-98479C39F090}" type="parTrans" cxnId="{1D7D3B02-AC5B-4439-A68E-FDDF3F38A421}">
      <dgm:prSet/>
      <dgm:spPr/>
      <dgm:t>
        <a:bodyPr/>
        <a:lstStyle/>
        <a:p>
          <a:endParaRPr lang="en-US"/>
        </a:p>
      </dgm:t>
    </dgm:pt>
    <dgm:pt modelId="{58B7CE68-5505-41CB-A3CB-A3BD2D7B5738}" type="sibTrans" cxnId="{1D7D3B02-AC5B-4439-A68E-FDDF3F38A421}">
      <dgm:prSet/>
      <dgm:spPr/>
      <dgm:t>
        <a:bodyPr/>
        <a:lstStyle/>
        <a:p>
          <a:endParaRPr lang="en-US"/>
        </a:p>
      </dgm:t>
    </dgm:pt>
    <dgm:pt modelId="{EF2F6964-4017-454A-AE97-D428A2B54A27}">
      <dgm:prSet custT="1"/>
      <dgm:spPr/>
      <dgm:t>
        <a:bodyPr/>
        <a:lstStyle/>
        <a:p>
          <a:r>
            <a:rPr lang="en-US" sz="2000" dirty="0"/>
            <a:t>SQL Server Intelligent Query Processing</a:t>
          </a:r>
        </a:p>
      </dgm:t>
    </dgm:pt>
    <dgm:pt modelId="{20EF693D-CCA0-4921-999A-26AEB259AA5E}" type="parTrans" cxnId="{2A7685BC-8F05-4239-BD2A-AD819063F271}">
      <dgm:prSet/>
      <dgm:spPr/>
      <dgm:t>
        <a:bodyPr/>
        <a:lstStyle/>
        <a:p>
          <a:endParaRPr lang="en-US"/>
        </a:p>
      </dgm:t>
    </dgm:pt>
    <dgm:pt modelId="{55772090-00A0-46C7-B1EB-BD9D75960733}" type="sibTrans" cxnId="{2A7685BC-8F05-4239-BD2A-AD819063F271}">
      <dgm:prSet/>
      <dgm:spPr/>
      <dgm:t>
        <a:bodyPr/>
        <a:lstStyle/>
        <a:p>
          <a:endParaRPr lang="en-US"/>
        </a:p>
      </dgm:t>
    </dgm:pt>
    <dgm:pt modelId="{27E32867-A858-44AD-B78A-BC429105AA46}">
      <dgm:prSet custT="1"/>
      <dgm:spPr/>
      <dgm:t>
        <a:bodyPr/>
        <a:lstStyle/>
        <a:p>
          <a:r>
            <a:rPr lang="en-US" sz="2000" dirty="0"/>
            <a:t>Module 8: SQL Server Plan Caching and Query Store</a:t>
          </a:r>
        </a:p>
      </dgm:t>
    </dgm:pt>
    <dgm:pt modelId="{95BAB64C-AF3B-47DF-B2AD-F282C4D1EBC8}" type="parTrans" cxnId="{143777C6-B1C4-43FC-AB21-5A589522D4B7}">
      <dgm:prSet/>
      <dgm:spPr/>
      <dgm:t>
        <a:bodyPr/>
        <a:lstStyle/>
        <a:p>
          <a:endParaRPr lang="en-US"/>
        </a:p>
      </dgm:t>
    </dgm:pt>
    <dgm:pt modelId="{22AE6594-F439-4B0D-8902-0EB5F5C2C668}" type="sibTrans" cxnId="{143777C6-B1C4-43FC-AB21-5A589522D4B7}">
      <dgm:prSet/>
      <dgm:spPr/>
      <dgm:t>
        <a:bodyPr/>
        <a:lstStyle/>
        <a:p>
          <a:endParaRPr lang="en-US"/>
        </a:p>
      </dgm:t>
    </dgm:pt>
    <dgm:pt modelId="{498CF31F-789B-49D6-AC26-C579B92B3EA1}">
      <dgm:prSet custT="1"/>
      <dgm:spPr/>
      <dgm:t>
        <a:bodyPr/>
        <a:lstStyle/>
        <a:p>
          <a:r>
            <a:rPr lang="en-US" sz="2000" dirty="0"/>
            <a:t>SQL Server Statistics Internals</a:t>
          </a:r>
        </a:p>
      </dgm:t>
    </dgm:pt>
    <dgm:pt modelId="{38F48224-BE59-40E5-A149-839A480B4D12}" type="parTrans" cxnId="{313142D0-74A3-411C-90B4-4E5550A3F7AF}">
      <dgm:prSet/>
      <dgm:spPr/>
      <dgm:t>
        <a:bodyPr/>
        <a:lstStyle/>
        <a:p>
          <a:endParaRPr lang="en-US"/>
        </a:p>
      </dgm:t>
    </dgm:pt>
    <dgm:pt modelId="{626FE629-CA86-4F1D-A89B-39BE8CE68BF7}" type="sibTrans" cxnId="{313142D0-74A3-411C-90B4-4E5550A3F7AF}">
      <dgm:prSet/>
      <dgm:spPr/>
      <dgm:t>
        <a:bodyPr/>
        <a:lstStyle/>
        <a:p>
          <a:endParaRPr lang="en-US"/>
        </a:p>
      </dgm:t>
    </dgm:pt>
    <dgm:pt modelId="{AD20E0C9-2E56-48BE-B501-21140FEFAD35}">
      <dgm:prSet custT="1"/>
      <dgm:spPr/>
      <dgm:t>
        <a:bodyPr/>
        <a:lstStyle/>
        <a:p>
          <a:r>
            <a:rPr lang="en-US" sz="2000" dirty="0"/>
            <a:t>SQL Server Cardinality Estimation</a:t>
          </a:r>
        </a:p>
      </dgm:t>
    </dgm:pt>
    <dgm:pt modelId="{904EC4F7-CBCF-455E-91CF-22159FAC8644}" type="parTrans" cxnId="{AFF9F658-0903-47FD-92C2-469642023B61}">
      <dgm:prSet/>
      <dgm:spPr/>
      <dgm:t>
        <a:bodyPr/>
        <a:lstStyle/>
        <a:p>
          <a:endParaRPr lang="en-US"/>
        </a:p>
      </dgm:t>
    </dgm:pt>
    <dgm:pt modelId="{8A6E4C4A-D7CA-4F83-8AD5-CA9A75DDFE43}" type="sibTrans" cxnId="{AFF9F658-0903-47FD-92C2-469642023B61}">
      <dgm:prSet/>
      <dgm:spPr/>
      <dgm:t>
        <a:bodyPr/>
        <a:lstStyle/>
        <a:p>
          <a:endParaRPr lang="en-US"/>
        </a:p>
      </dgm:t>
    </dgm:pt>
    <dgm:pt modelId="{8C22A788-6186-42A5-9594-079D0927E31F}">
      <dgm:prSet custT="1"/>
      <dgm:spPr/>
      <dgm:t>
        <a:bodyPr/>
        <a:lstStyle/>
        <a:p>
          <a:r>
            <a:rPr lang="en-US" sz="2000" dirty="0"/>
            <a:t>SQL Server Statistics Maintenance </a:t>
          </a:r>
        </a:p>
      </dgm:t>
    </dgm:pt>
    <dgm:pt modelId="{E0889141-9B9C-4CA2-B968-74FD34D26AFE}" type="parTrans" cxnId="{9E8CF6CE-2021-4349-A34D-82A981ACBF71}">
      <dgm:prSet/>
      <dgm:spPr/>
      <dgm:t>
        <a:bodyPr/>
        <a:lstStyle/>
        <a:p>
          <a:endParaRPr lang="en-US"/>
        </a:p>
      </dgm:t>
    </dgm:pt>
    <dgm:pt modelId="{D430C322-DCA0-4FCE-BE15-4E12D21E7D0B}" type="sibTrans" cxnId="{9E8CF6CE-2021-4349-A34D-82A981ACBF71}">
      <dgm:prSet/>
      <dgm:spPr/>
      <dgm:t>
        <a:bodyPr/>
        <a:lstStyle/>
        <a:p>
          <a:endParaRPr lang="en-US"/>
        </a:p>
      </dgm:t>
    </dgm:pt>
    <dgm:pt modelId="{F9FB3732-3153-4EFB-98C0-51DF7A399345}">
      <dgm:prSet custT="1"/>
      <dgm:spPr/>
      <dgm:t>
        <a:bodyPr/>
        <a:lstStyle/>
        <a:p>
          <a:r>
            <a:rPr lang="en-US" sz="2000" dirty="0"/>
            <a:t>Module 7: SQL Server Query Execution and Plans</a:t>
          </a:r>
        </a:p>
      </dgm:t>
    </dgm:pt>
    <dgm:pt modelId="{900D94CF-551F-4790-A95E-9AB6FB7DA003}" type="parTrans" cxnId="{DF610BCB-F855-48D4-BAFB-A2F088450D47}">
      <dgm:prSet/>
      <dgm:spPr/>
      <dgm:t>
        <a:bodyPr/>
        <a:lstStyle/>
        <a:p>
          <a:endParaRPr lang="en-US"/>
        </a:p>
      </dgm:t>
    </dgm:pt>
    <dgm:pt modelId="{4BB88DAE-D57A-490B-8661-5EA2F721F294}" type="sibTrans" cxnId="{DF610BCB-F855-48D4-BAFB-A2F088450D47}">
      <dgm:prSet/>
      <dgm:spPr/>
      <dgm:t>
        <a:bodyPr/>
        <a:lstStyle/>
        <a:p>
          <a:endParaRPr lang="en-US"/>
        </a:p>
      </dgm:t>
    </dgm:pt>
    <dgm:pt modelId="{F51EEEC2-515E-4E5E-90FB-A1104A59B391}" type="pres">
      <dgm:prSet presAssocID="{01E1DF0C-A459-49AA-8F8D-34E69D8DBE3E}" presName="Name0" presStyleCnt="0">
        <dgm:presLayoutVars>
          <dgm:dir/>
          <dgm:animLvl val="lvl"/>
          <dgm:resizeHandles val="exact"/>
        </dgm:presLayoutVars>
      </dgm:prSet>
      <dgm:spPr/>
    </dgm:pt>
    <dgm:pt modelId="{EB61C0C9-8646-4629-9964-4BFFCDBCF278}" type="pres">
      <dgm:prSet presAssocID="{42F07F62-1218-4963-BAB3-C2A2D64707F7}" presName="vertFlow" presStyleCnt="0"/>
      <dgm:spPr/>
    </dgm:pt>
    <dgm:pt modelId="{47D7BB7B-B799-49AF-AA47-406D106BD1B6}" type="pres">
      <dgm:prSet presAssocID="{42F07F62-1218-4963-BAB3-C2A2D64707F7}" presName="header" presStyleLbl="node1" presStyleIdx="0" presStyleCnt="3" custScaleY="174681"/>
      <dgm:spPr/>
    </dgm:pt>
    <dgm:pt modelId="{74201C77-1645-40D1-A5C0-1ADE121B18DC}" type="pres">
      <dgm:prSet presAssocID="{38F48224-BE59-40E5-A149-839A480B4D12}" presName="parTrans" presStyleLbl="sibTrans2D1" presStyleIdx="0" presStyleCnt="9"/>
      <dgm:spPr/>
    </dgm:pt>
    <dgm:pt modelId="{D8A5EBF3-4B03-4100-AF7A-BE76AA8A956C}" type="pres">
      <dgm:prSet presAssocID="{498CF31F-789B-49D6-AC26-C579B92B3EA1}" presName="child" presStyleLbl="alignAccFollowNode1" presStyleIdx="0" presStyleCnt="9">
        <dgm:presLayoutVars>
          <dgm:chMax val="0"/>
          <dgm:bulletEnabled val="1"/>
        </dgm:presLayoutVars>
      </dgm:prSet>
      <dgm:spPr/>
    </dgm:pt>
    <dgm:pt modelId="{9EEF22D0-0512-4D7E-A29E-CCFBAE1078E3}" type="pres">
      <dgm:prSet presAssocID="{626FE629-CA86-4F1D-A89B-39BE8CE68BF7}" presName="sibTrans" presStyleLbl="sibTrans2D1" presStyleIdx="1" presStyleCnt="9"/>
      <dgm:spPr/>
    </dgm:pt>
    <dgm:pt modelId="{79473975-CF9B-43B4-9534-93F78748F466}" type="pres">
      <dgm:prSet presAssocID="{AD20E0C9-2E56-48BE-B501-21140FEFAD35}" presName="child" presStyleLbl="alignAccFollowNode1" presStyleIdx="1" presStyleCnt="9">
        <dgm:presLayoutVars>
          <dgm:chMax val="0"/>
          <dgm:bulletEnabled val="1"/>
        </dgm:presLayoutVars>
      </dgm:prSet>
      <dgm:spPr/>
    </dgm:pt>
    <dgm:pt modelId="{4F2E4FFD-8348-454C-97A3-F9F959638A65}" type="pres">
      <dgm:prSet presAssocID="{8A6E4C4A-D7CA-4F83-8AD5-CA9A75DDFE43}" presName="sibTrans" presStyleLbl="sibTrans2D1" presStyleIdx="2" presStyleCnt="9"/>
      <dgm:spPr/>
    </dgm:pt>
    <dgm:pt modelId="{968475B1-8192-4134-A95F-6E96837CECE5}" type="pres">
      <dgm:prSet presAssocID="{8C22A788-6186-42A5-9594-079D0927E31F}" presName="child" presStyleLbl="alignAccFollowNode1" presStyleIdx="2" presStyleCnt="9">
        <dgm:presLayoutVars>
          <dgm:chMax val="0"/>
          <dgm:bulletEnabled val="1"/>
        </dgm:presLayoutVars>
      </dgm:prSet>
      <dgm:spPr/>
    </dgm:pt>
    <dgm:pt modelId="{CA26422F-6602-4C03-864F-E8DDB7109D97}" type="pres">
      <dgm:prSet presAssocID="{42F07F62-1218-4963-BAB3-C2A2D64707F7}" presName="hSp" presStyleCnt="0"/>
      <dgm:spPr/>
    </dgm:pt>
    <dgm:pt modelId="{C1EB4C5E-AF2F-4CFE-90CB-508AC7947A6D}" type="pres">
      <dgm:prSet presAssocID="{F9FB3732-3153-4EFB-98C0-51DF7A399345}" presName="vertFlow" presStyleCnt="0"/>
      <dgm:spPr/>
    </dgm:pt>
    <dgm:pt modelId="{D3DFD793-A549-4A64-9E53-BC1CF856C1F1}" type="pres">
      <dgm:prSet presAssocID="{F9FB3732-3153-4EFB-98C0-51DF7A399345}" presName="header" presStyleLbl="node1" presStyleIdx="1" presStyleCnt="3" custScaleY="170597"/>
      <dgm:spPr/>
    </dgm:pt>
    <dgm:pt modelId="{DBC1F642-52B4-4173-8794-DBC1D546D432}" type="pres">
      <dgm:prSet presAssocID="{DD094F2F-0DE4-4E46-8299-F00362C6E2BD}" presName="parTrans" presStyleLbl="sibTrans2D1" presStyleIdx="3" presStyleCnt="9"/>
      <dgm:spPr/>
    </dgm:pt>
    <dgm:pt modelId="{90E92A6F-B338-47B9-9093-CC45004F02EF}" type="pres">
      <dgm:prSet presAssocID="{A8F99E74-012D-426A-BBC7-A01431A736CE}" presName="child" presStyleLbl="alignAccFollowNode1" presStyleIdx="3" presStyleCnt="9">
        <dgm:presLayoutVars>
          <dgm:chMax val="0"/>
          <dgm:bulletEnabled val="1"/>
        </dgm:presLayoutVars>
      </dgm:prSet>
      <dgm:spPr/>
    </dgm:pt>
    <dgm:pt modelId="{C4CEFBA8-D246-4F2A-9B77-B06EAE36DBD5}" type="pres">
      <dgm:prSet presAssocID="{C8F6A8CE-F770-4442-B86B-AD486A1E7E18}" presName="sibTrans" presStyleLbl="sibTrans2D1" presStyleIdx="4" presStyleCnt="9"/>
      <dgm:spPr/>
    </dgm:pt>
    <dgm:pt modelId="{CBF60740-2C03-4778-ABCD-938D0AE91436}" type="pres">
      <dgm:prSet presAssocID="{9D4C4C89-52DD-4FDE-B0BC-ACAC98EB9DC4}" presName="child" presStyleLbl="alignAccFollowNode1" presStyleIdx="4" presStyleCnt="9">
        <dgm:presLayoutVars>
          <dgm:chMax val="0"/>
          <dgm:bulletEnabled val="1"/>
        </dgm:presLayoutVars>
      </dgm:prSet>
      <dgm:spPr/>
    </dgm:pt>
    <dgm:pt modelId="{EC191B0F-479D-46A4-A532-261DC6C321E7}" type="pres">
      <dgm:prSet presAssocID="{58B7CE68-5505-41CB-A3CB-A3BD2D7B5738}" presName="sibTrans" presStyleLbl="sibTrans2D1" presStyleIdx="5" presStyleCnt="9"/>
      <dgm:spPr/>
    </dgm:pt>
    <dgm:pt modelId="{6C93B03E-9553-4CEA-B59E-253C3A6F9EE2}" type="pres">
      <dgm:prSet presAssocID="{EF2F6964-4017-454A-AE97-D428A2B54A27}" presName="child" presStyleLbl="alignAccFollowNode1" presStyleIdx="5" presStyleCnt="9">
        <dgm:presLayoutVars>
          <dgm:chMax val="0"/>
          <dgm:bulletEnabled val="1"/>
        </dgm:presLayoutVars>
      </dgm:prSet>
      <dgm:spPr/>
    </dgm:pt>
    <dgm:pt modelId="{F0411398-3776-43A7-97F4-B7A1447803AF}" type="pres">
      <dgm:prSet presAssocID="{F9FB3732-3153-4EFB-98C0-51DF7A399345}" presName="hSp" presStyleCnt="0"/>
      <dgm:spPr/>
    </dgm:pt>
    <dgm:pt modelId="{D14308D7-AE0A-4017-96BC-19E3B0945D98}" type="pres">
      <dgm:prSet presAssocID="{27E32867-A858-44AD-B78A-BC429105AA46}" presName="vertFlow" presStyleCnt="0"/>
      <dgm:spPr/>
    </dgm:pt>
    <dgm:pt modelId="{978911C3-F874-49DC-AAED-E0BD391B6462}" type="pres">
      <dgm:prSet presAssocID="{27E32867-A858-44AD-B78A-BC429105AA46}" presName="header" presStyleLbl="node1" presStyleIdx="2" presStyleCnt="3" custScaleY="178287"/>
      <dgm:spPr/>
    </dgm:pt>
    <dgm:pt modelId="{58567880-22DC-488D-ADF0-EDB93FA0E257}" type="pres">
      <dgm:prSet presAssocID="{85652CBE-858C-4E30-9D37-34D1696CF931}" presName="parTrans" presStyleLbl="sibTrans2D1" presStyleIdx="6" presStyleCnt="9"/>
      <dgm:spPr/>
    </dgm:pt>
    <dgm:pt modelId="{6EEE6683-C7E8-4C4E-8E6F-9CBCB54EBFAD}" type="pres">
      <dgm:prSet presAssocID="{8B163301-8801-428E-AA6D-7D7CE3FA5EBA}" presName="child" presStyleLbl="alignAccFollowNode1" presStyleIdx="6" presStyleCnt="9">
        <dgm:presLayoutVars>
          <dgm:chMax val="0"/>
          <dgm:bulletEnabled val="1"/>
        </dgm:presLayoutVars>
      </dgm:prSet>
      <dgm:spPr/>
    </dgm:pt>
    <dgm:pt modelId="{B029001E-07D1-49AD-B97B-8C3ABB77F700}" type="pres">
      <dgm:prSet presAssocID="{A178A52A-A530-45CE-96BD-165875BEE533}" presName="sibTrans" presStyleLbl="sibTrans2D1" presStyleIdx="7" presStyleCnt="9"/>
      <dgm:spPr/>
    </dgm:pt>
    <dgm:pt modelId="{F03AAF81-D1D8-4D98-AEDC-DC00C3F54EAE}" type="pres">
      <dgm:prSet presAssocID="{98579CD9-E5EE-4C8C-B0EF-1796DC39FD8C}" presName="child" presStyleLbl="alignAccFollowNode1" presStyleIdx="7" presStyleCnt="9">
        <dgm:presLayoutVars>
          <dgm:chMax val="0"/>
          <dgm:bulletEnabled val="1"/>
        </dgm:presLayoutVars>
      </dgm:prSet>
      <dgm:spPr/>
    </dgm:pt>
    <dgm:pt modelId="{357B8704-671F-4FCB-BEED-1E891BEF2CEE}" type="pres">
      <dgm:prSet presAssocID="{3732ABD6-91AF-4C0D-9706-2B6A53BB48F9}" presName="sibTrans" presStyleLbl="sibTrans2D1" presStyleIdx="8" presStyleCnt="9"/>
      <dgm:spPr/>
    </dgm:pt>
    <dgm:pt modelId="{6525B020-02A4-497E-84B1-900330EBC418}" type="pres">
      <dgm:prSet presAssocID="{412D857B-2942-4120-B830-DC52BC925169}" presName="child" presStyleLbl="alignAccFollowNode1" presStyleIdx="8" presStyleCnt="9" custScaleY="99818">
        <dgm:presLayoutVars>
          <dgm:chMax val="0"/>
          <dgm:bulletEnabled val="1"/>
        </dgm:presLayoutVars>
      </dgm:prSet>
      <dgm:spPr/>
    </dgm:pt>
  </dgm:ptLst>
  <dgm:cxnLst>
    <dgm:cxn modelId="{1D7D3B02-AC5B-4439-A68E-FDDF3F38A421}" srcId="{F9FB3732-3153-4EFB-98C0-51DF7A399345}" destId="{9D4C4C89-52DD-4FDE-B0BC-ACAC98EB9DC4}" srcOrd="1" destOrd="0" parTransId="{D4506C9D-C993-4152-9F5B-98479C39F090}" sibTransId="{58B7CE68-5505-41CB-A3CB-A3BD2D7B5738}"/>
    <dgm:cxn modelId="{6B2CCA03-0ED9-462A-BD86-0B25E18D2FAB}" type="presOf" srcId="{8B163301-8801-428E-AA6D-7D7CE3FA5EBA}" destId="{6EEE6683-C7E8-4C4E-8E6F-9CBCB54EBFAD}" srcOrd="0" destOrd="0" presId="urn:microsoft.com/office/officeart/2005/8/layout/lProcess1"/>
    <dgm:cxn modelId="{0EF24C0A-5D35-4435-BAA7-9675DCF23202}" srcId="{F9FB3732-3153-4EFB-98C0-51DF7A399345}" destId="{A8F99E74-012D-426A-BBC7-A01431A736CE}" srcOrd="0" destOrd="0" parTransId="{DD094F2F-0DE4-4E46-8299-F00362C6E2BD}" sibTransId="{C8F6A8CE-F770-4442-B86B-AD486A1E7E18}"/>
    <dgm:cxn modelId="{DD31250C-B593-4F37-A55B-1D2EA169DB5D}" type="presOf" srcId="{EF2F6964-4017-454A-AE97-D428A2B54A27}" destId="{6C93B03E-9553-4CEA-B59E-253C3A6F9EE2}" srcOrd="0" destOrd="0" presId="urn:microsoft.com/office/officeart/2005/8/layout/lProcess1"/>
    <dgm:cxn modelId="{21861518-5E5D-41AE-8679-9252981B881A}" type="presOf" srcId="{626FE629-CA86-4F1D-A89B-39BE8CE68BF7}" destId="{9EEF22D0-0512-4D7E-A29E-CCFBAE1078E3}" srcOrd="0" destOrd="0" presId="urn:microsoft.com/office/officeart/2005/8/layout/lProcess1"/>
    <dgm:cxn modelId="{B25D8933-02FF-4535-97A7-D8D04515A437}" type="presOf" srcId="{C8F6A8CE-F770-4442-B86B-AD486A1E7E18}" destId="{C4CEFBA8-D246-4F2A-9B77-B06EAE36DBD5}" srcOrd="0" destOrd="0" presId="urn:microsoft.com/office/officeart/2005/8/layout/lProcess1"/>
    <dgm:cxn modelId="{3E560536-D571-4CEA-A29A-22E2C1EEFCE0}" type="presOf" srcId="{F9FB3732-3153-4EFB-98C0-51DF7A399345}" destId="{D3DFD793-A549-4A64-9E53-BC1CF856C1F1}" srcOrd="0" destOrd="0" presId="urn:microsoft.com/office/officeart/2005/8/layout/lProcess1"/>
    <dgm:cxn modelId="{EC6FC55F-1B28-43EC-A17E-B98B3F2BAC1D}" type="presOf" srcId="{9D4C4C89-52DD-4FDE-B0BC-ACAC98EB9DC4}" destId="{CBF60740-2C03-4778-ABCD-938D0AE91436}" srcOrd="0" destOrd="0" presId="urn:microsoft.com/office/officeart/2005/8/layout/lProcess1"/>
    <dgm:cxn modelId="{CD466242-0CC0-40E0-8721-B3218FA71D18}" type="presOf" srcId="{3732ABD6-91AF-4C0D-9706-2B6A53BB48F9}" destId="{357B8704-671F-4FCB-BEED-1E891BEF2CEE}" srcOrd="0" destOrd="0" presId="urn:microsoft.com/office/officeart/2005/8/layout/lProcess1"/>
    <dgm:cxn modelId="{20B40951-88D8-4611-B9CD-C1AF338CCF60}" type="presOf" srcId="{58B7CE68-5505-41CB-A3CB-A3BD2D7B5738}" destId="{EC191B0F-479D-46A4-A532-261DC6C321E7}" srcOrd="0" destOrd="0" presId="urn:microsoft.com/office/officeart/2005/8/layout/lProcess1"/>
    <dgm:cxn modelId="{22BE1456-00DC-43DD-9940-78642A9E9BE6}" type="presOf" srcId="{A8F99E74-012D-426A-BBC7-A01431A736CE}" destId="{90E92A6F-B338-47B9-9093-CC45004F02EF}" srcOrd="0" destOrd="0" presId="urn:microsoft.com/office/officeart/2005/8/layout/lProcess1"/>
    <dgm:cxn modelId="{AFF9F658-0903-47FD-92C2-469642023B61}" srcId="{42F07F62-1218-4963-BAB3-C2A2D64707F7}" destId="{AD20E0C9-2E56-48BE-B501-21140FEFAD35}" srcOrd="1" destOrd="0" parTransId="{904EC4F7-CBCF-455E-91CF-22159FAC8644}" sibTransId="{8A6E4C4A-D7CA-4F83-8AD5-CA9A75DDFE43}"/>
    <dgm:cxn modelId="{F9E66D7C-FFEF-4C3C-A94C-AFED7CE3E579}" type="presOf" srcId="{42F07F62-1218-4963-BAB3-C2A2D64707F7}" destId="{47D7BB7B-B799-49AF-AA47-406D106BD1B6}" srcOrd="0" destOrd="0" presId="urn:microsoft.com/office/officeart/2005/8/layout/lProcess1"/>
    <dgm:cxn modelId="{D78D147D-C65C-4920-8DDC-BC646623CFA9}" type="presOf" srcId="{412D857B-2942-4120-B830-DC52BC925169}" destId="{6525B020-02A4-497E-84B1-900330EBC418}" srcOrd="0" destOrd="0" presId="urn:microsoft.com/office/officeart/2005/8/layout/lProcess1"/>
    <dgm:cxn modelId="{D5D07480-D693-4F57-930C-0653230220E1}" type="presOf" srcId="{AD20E0C9-2E56-48BE-B501-21140FEFAD35}" destId="{79473975-CF9B-43B4-9534-93F78748F466}" srcOrd="0" destOrd="0" presId="urn:microsoft.com/office/officeart/2005/8/layout/lProcess1"/>
    <dgm:cxn modelId="{D17B7396-8362-46D9-A1B2-CEA2929BB7D8}" type="presOf" srcId="{85652CBE-858C-4E30-9D37-34D1696CF931}" destId="{58567880-22DC-488D-ADF0-EDB93FA0E257}" srcOrd="0" destOrd="0" presId="urn:microsoft.com/office/officeart/2005/8/layout/lProcess1"/>
    <dgm:cxn modelId="{17D57396-A6B9-4F8C-BA7C-B60DA34439E3}" srcId="{27E32867-A858-44AD-B78A-BC429105AA46}" destId="{98579CD9-E5EE-4C8C-B0EF-1796DC39FD8C}" srcOrd="1" destOrd="0" parTransId="{CA9EC589-436E-45E0-A200-18B894B3FCF8}" sibTransId="{3732ABD6-91AF-4C0D-9706-2B6A53BB48F9}"/>
    <dgm:cxn modelId="{F8A1EEA4-5C94-41B7-B7FB-69336FD1F38F}" srcId="{01E1DF0C-A459-49AA-8F8D-34E69D8DBE3E}" destId="{42F07F62-1218-4963-BAB3-C2A2D64707F7}" srcOrd="0" destOrd="0" parTransId="{F571CF1F-0463-42DA-A104-087A70D1C209}" sibTransId="{37E6AC21-4757-4293-8DB4-193A2130633A}"/>
    <dgm:cxn modelId="{4EB46BAA-6A14-4BD7-A5FE-551959E78F6D}" srcId="{27E32867-A858-44AD-B78A-BC429105AA46}" destId="{8B163301-8801-428E-AA6D-7D7CE3FA5EBA}" srcOrd="0" destOrd="0" parTransId="{85652CBE-858C-4E30-9D37-34D1696CF931}" sibTransId="{A178A52A-A530-45CE-96BD-165875BEE533}"/>
    <dgm:cxn modelId="{DB7159AC-050D-4EF3-AF0C-DCD55198035B}" type="presOf" srcId="{01E1DF0C-A459-49AA-8F8D-34E69D8DBE3E}" destId="{F51EEEC2-515E-4E5E-90FB-A1104A59B391}" srcOrd="0" destOrd="0" presId="urn:microsoft.com/office/officeart/2005/8/layout/lProcess1"/>
    <dgm:cxn modelId="{E82E54B6-A3FA-4643-89DF-FF7BBAA7F0DA}" srcId="{27E32867-A858-44AD-B78A-BC429105AA46}" destId="{412D857B-2942-4120-B830-DC52BC925169}" srcOrd="2" destOrd="0" parTransId="{3DC6EB9B-B6C0-4AFC-B84D-9B00664FFA2C}" sibTransId="{A3B6B6FF-CEE4-4135-AE3B-18F75F1A5A2B}"/>
    <dgm:cxn modelId="{2A7685BC-8F05-4239-BD2A-AD819063F271}" srcId="{F9FB3732-3153-4EFB-98C0-51DF7A399345}" destId="{EF2F6964-4017-454A-AE97-D428A2B54A27}" srcOrd="2" destOrd="0" parTransId="{20EF693D-CCA0-4921-999A-26AEB259AA5E}" sibTransId="{55772090-00A0-46C7-B1EB-BD9D75960733}"/>
    <dgm:cxn modelId="{143777C6-B1C4-43FC-AB21-5A589522D4B7}" srcId="{01E1DF0C-A459-49AA-8F8D-34E69D8DBE3E}" destId="{27E32867-A858-44AD-B78A-BC429105AA46}" srcOrd="2" destOrd="0" parTransId="{95BAB64C-AF3B-47DF-B2AD-F282C4D1EBC8}" sibTransId="{22AE6594-F439-4B0D-8902-0EB5F5C2C668}"/>
    <dgm:cxn modelId="{DF610BCB-F855-48D4-BAFB-A2F088450D47}" srcId="{01E1DF0C-A459-49AA-8F8D-34E69D8DBE3E}" destId="{F9FB3732-3153-4EFB-98C0-51DF7A399345}" srcOrd="1" destOrd="0" parTransId="{900D94CF-551F-4790-A95E-9AB6FB7DA003}" sibTransId="{4BB88DAE-D57A-490B-8661-5EA2F721F294}"/>
    <dgm:cxn modelId="{B9CA7DCB-D788-41C0-ACA6-3316B6A4AEB7}" type="presOf" srcId="{498CF31F-789B-49D6-AC26-C579B92B3EA1}" destId="{D8A5EBF3-4B03-4100-AF7A-BE76AA8A956C}" srcOrd="0" destOrd="0" presId="urn:microsoft.com/office/officeart/2005/8/layout/lProcess1"/>
    <dgm:cxn modelId="{2E3575CC-AFE8-4F57-841B-F50715D8E578}" type="presOf" srcId="{A178A52A-A530-45CE-96BD-165875BEE533}" destId="{B029001E-07D1-49AD-B97B-8C3ABB77F700}" srcOrd="0" destOrd="0" presId="urn:microsoft.com/office/officeart/2005/8/layout/lProcess1"/>
    <dgm:cxn modelId="{9E8CF6CE-2021-4349-A34D-82A981ACBF71}" srcId="{42F07F62-1218-4963-BAB3-C2A2D64707F7}" destId="{8C22A788-6186-42A5-9594-079D0927E31F}" srcOrd="2" destOrd="0" parTransId="{E0889141-9B9C-4CA2-B968-74FD34D26AFE}" sibTransId="{D430C322-DCA0-4FCE-BE15-4E12D21E7D0B}"/>
    <dgm:cxn modelId="{313142D0-74A3-411C-90B4-4E5550A3F7AF}" srcId="{42F07F62-1218-4963-BAB3-C2A2D64707F7}" destId="{498CF31F-789B-49D6-AC26-C579B92B3EA1}" srcOrd="0" destOrd="0" parTransId="{38F48224-BE59-40E5-A149-839A480B4D12}" sibTransId="{626FE629-CA86-4F1D-A89B-39BE8CE68BF7}"/>
    <dgm:cxn modelId="{E7A5C6E0-2528-46D6-B5F0-A158E242EEF9}" type="presOf" srcId="{98579CD9-E5EE-4C8C-B0EF-1796DC39FD8C}" destId="{F03AAF81-D1D8-4D98-AEDC-DC00C3F54EAE}" srcOrd="0" destOrd="0" presId="urn:microsoft.com/office/officeart/2005/8/layout/lProcess1"/>
    <dgm:cxn modelId="{ED76CDE8-4B6A-4066-B9FC-466891CEB9B9}" type="presOf" srcId="{27E32867-A858-44AD-B78A-BC429105AA46}" destId="{978911C3-F874-49DC-AAED-E0BD391B6462}" srcOrd="0" destOrd="0" presId="urn:microsoft.com/office/officeart/2005/8/layout/lProcess1"/>
    <dgm:cxn modelId="{0DAA31E9-FF7A-416D-A51E-29C7B935E595}" type="presOf" srcId="{8C22A788-6186-42A5-9594-079D0927E31F}" destId="{968475B1-8192-4134-A95F-6E96837CECE5}" srcOrd="0" destOrd="0" presId="urn:microsoft.com/office/officeart/2005/8/layout/lProcess1"/>
    <dgm:cxn modelId="{AFF0CFEA-5674-41B5-90C9-8845F6C17F17}" type="presOf" srcId="{38F48224-BE59-40E5-A149-839A480B4D12}" destId="{74201C77-1645-40D1-A5C0-1ADE121B18DC}" srcOrd="0" destOrd="0" presId="urn:microsoft.com/office/officeart/2005/8/layout/lProcess1"/>
    <dgm:cxn modelId="{0EA8CAF5-0273-4C16-BEDC-A9F5DA5F36B6}" type="presOf" srcId="{DD094F2F-0DE4-4E46-8299-F00362C6E2BD}" destId="{DBC1F642-52B4-4173-8794-DBC1D546D432}" srcOrd="0" destOrd="0" presId="urn:microsoft.com/office/officeart/2005/8/layout/lProcess1"/>
    <dgm:cxn modelId="{8C7F07FF-06F8-469F-97A6-EA324BF03E5C}" type="presOf" srcId="{8A6E4C4A-D7CA-4F83-8AD5-CA9A75DDFE43}" destId="{4F2E4FFD-8348-454C-97A3-F9F959638A65}" srcOrd="0" destOrd="0" presId="urn:microsoft.com/office/officeart/2005/8/layout/lProcess1"/>
    <dgm:cxn modelId="{BC2566CA-4559-483E-A36C-C980AF11C335}" type="presParOf" srcId="{F51EEEC2-515E-4E5E-90FB-A1104A59B391}" destId="{EB61C0C9-8646-4629-9964-4BFFCDBCF278}" srcOrd="0" destOrd="0" presId="urn:microsoft.com/office/officeart/2005/8/layout/lProcess1"/>
    <dgm:cxn modelId="{E753FF43-C90E-4412-9106-9F31823A0DF4}" type="presParOf" srcId="{EB61C0C9-8646-4629-9964-4BFFCDBCF278}" destId="{47D7BB7B-B799-49AF-AA47-406D106BD1B6}" srcOrd="0" destOrd="0" presId="urn:microsoft.com/office/officeart/2005/8/layout/lProcess1"/>
    <dgm:cxn modelId="{ACF06845-8312-40BE-8870-75A0AC5C49B4}" type="presParOf" srcId="{EB61C0C9-8646-4629-9964-4BFFCDBCF278}" destId="{74201C77-1645-40D1-A5C0-1ADE121B18DC}" srcOrd="1" destOrd="0" presId="urn:microsoft.com/office/officeart/2005/8/layout/lProcess1"/>
    <dgm:cxn modelId="{9C2173B5-DDBE-4D9E-A5D1-3788DB86FC9B}" type="presParOf" srcId="{EB61C0C9-8646-4629-9964-4BFFCDBCF278}" destId="{D8A5EBF3-4B03-4100-AF7A-BE76AA8A956C}" srcOrd="2" destOrd="0" presId="urn:microsoft.com/office/officeart/2005/8/layout/lProcess1"/>
    <dgm:cxn modelId="{13A7FC0C-27E4-4FE1-BE05-AA8F89296DC5}" type="presParOf" srcId="{EB61C0C9-8646-4629-9964-4BFFCDBCF278}" destId="{9EEF22D0-0512-4D7E-A29E-CCFBAE1078E3}" srcOrd="3" destOrd="0" presId="urn:microsoft.com/office/officeart/2005/8/layout/lProcess1"/>
    <dgm:cxn modelId="{B39DB5C3-4FDC-4294-9246-BFAB3A4442BB}" type="presParOf" srcId="{EB61C0C9-8646-4629-9964-4BFFCDBCF278}" destId="{79473975-CF9B-43B4-9534-93F78748F466}" srcOrd="4" destOrd="0" presId="urn:microsoft.com/office/officeart/2005/8/layout/lProcess1"/>
    <dgm:cxn modelId="{EE422DF3-1709-44D4-83F7-B998F764F2EC}" type="presParOf" srcId="{EB61C0C9-8646-4629-9964-4BFFCDBCF278}" destId="{4F2E4FFD-8348-454C-97A3-F9F959638A65}" srcOrd="5" destOrd="0" presId="urn:microsoft.com/office/officeart/2005/8/layout/lProcess1"/>
    <dgm:cxn modelId="{E13CE4D9-AB03-4BA0-B518-7D2B1F60094A}" type="presParOf" srcId="{EB61C0C9-8646-4629-9964-4BFFCDBCF278}" destId="{968475B1-8192-4134-A95F-6E96837CECE5}" srcOrd="6" destOrd="0" presId="urn:microsoft.com/office/officeart/2005/8/layout/lProcess1"/>
    <dgm:cxn modelId="{2FF4FABA-4077-44BB-8E6E-8718E67E57B0}" type="presParOf" srcId="{F51EEEC2-515E-4E5E-90FB-A1104A59B391}" destId="{CA26422F-6602-4C03-864F-E8DDB7109D97}" srcOrd="1" destOrd="0" presId="urn:microsoft.com/office/officeart/2005/8/layout/lProcess1"/>
    <dgm:cxn modelId="{3C027342-DE11-4516-B383-5B913EC3A3A5}" type="presParOf" srcId="{F51EEEC2-515E-4E5E-90FB-A1104A59B391}" destId="{C1EB4C5E-AF2F-4CFE-90CB-508AC7947A6D}" srcOrd="2" destOrd="0" presId="urn:microsoft.com/office/officeart/2005/8/layout/lProcess1"/>
    <dgm:cxn modelId="{FE971F5B-AEA3-41F0-9CB3-C36011E59BBD}" type="presParOf" srcId="{C1EB4C5E-AF2F-4CFE-90CB-508AC7947A6D}" destId="{D3DFD793-A549-4A64-9E53-BC1CF856C1F1}" srcOrd="0" destOrd="0" presId="urn:microsoft.com/office/officeart/2005/8/layout/lProcess1"/>
    <dgm:cxn modelId="{742E235F-5EF6-464E-91D6-09AA2FB74635}" type="presParOf" srcId="{C1EB4C5E-AF2F-4CFE-90CB-508AC7947A6D}" destId="{DBC1F642-52B4-4173-8794-DBC1D546D432}" srcOrd="1" destOrd="0" presId="urn:microsoft.com/office/officeart/2005/8/layout/lProcess1"/>
    <dgm:cxn modelId="{99FA2CAC-BE65-47D9-A0F6-38EEE7DE3190}" type="presParOf" srcId="{C1EB4C5E-AF2F-4CFE-90CB-508AC7947A6D}" destId="{90E92A6F-B338-47B9-9093-CC45004F02EF}" srcOrd="2" destOrd="0" presId="urn:microsoft.com/office/officeart/2005/8/layout/lProcess1"/>
    <dgm:cxn modelId="{09382A2A-65EA-4AD1-837E-7A8C8BC2BAE7}" type="presParOf" srcId="{C1EB4C5E-AF2F-4CFE-90CB-508AC7947A6D}" destId="{C4CEFBA8-D246-4F2A-9B77-B06EAE36DBD5}" srcOrd="3" destOrd="0" presId="urn:microsoft.com/office/officeart/2005/8/layout/lProcess1"/>
    <dgm:cxn modelId="{BC3780F8-EDC7-4D70-955E-93A7D04DE702}" type="presParOf" srcId="{C1EB4C5E-AF2F-4CFE-90CB-508AC7947A6D}" destId="{CBF60740-2C03-4778-ABCD-938D0AE91436}" srcOrd="4" destOrd="0" presId="urn:microsoft.com/office/officeart/2005/8/layout/lProcess1"/>
    <dgm:cxn modelId="{72A96A45-71D9-4ACF-AA25-A255D4BE291C}" type="presParOf" srcId="{C1EB4C5E-AF2F-4CFE-90CB-508AC7947A6D}" destId="{EC191B0F-479D-46A4-A532-261DC6C321E7}" srcOrd="5" destOrd="0" presId="urn:microsoft.com/office/officeart/2005/8/layout/lProcess1"/>
    <dgm:cxn modelId="{52267A46-5C97-4B46-A470-4B716128C4CE}" type="presParOf" srcId="{C1EB4C5E-AF2F-4CFE-90CB-508AC7947A6D}" destId="{6C93B03E-9553-4CEA-B59E-253C3A6F9EE2}" srcOrd="6" destOrd="0" presId="urn:microsoft.com/office/officeart/2005/8/layout/lProcess1"/>
    <dgm:cxn modelId="{D5EBE4A5-BCD7-4FF4-BFBB-F717F2B29CB8}" type="presParOf" srcId="{F51EEEC2-515E-4E5E-90FB-A1104A59B391}" destId="{F0411398-3776-43A7-97F4-B7A1447803AF}" srcOrd="3" destOrd="0" presId="urn:microsoft.com/office/officeart/2005/8/layout/lProcess1"/>
    <dgm:cxn modelId="{5D2D22EC-18CD-402C-B53B-EB72F82E8653}" type="presParOf" srcId="{F51EEEC2-515E-4E5E-90FB-A1104A59B391}" destId="{D14308D7-AE0A-4017-96BC-19E3B0945D98}" srcOrd="4" destOrd="0" presId="urn:microsoft.com/office/officeart/2005/8/layout/lProcess1"/>
    <dgm:cxn modelId="{1E9B9FBD-B72B-4D2F-A66F-1931A1489F17}" type="presParOf" srcId="{D14308D7-AE0A-4017-96BC-19E3B0945D98}" destId="{978911C3-F874-49DC-AAED-E0BD391B6462}" srcOrd="0" destOrd="0" presId="urn:microsoft.com/office/officeart/2005/8/layout/lProcess1"/>
    <dgm:cxn modelId="{B0A49EFF-8953-4B0D-9859-CAAED6ADF240}" type="presParOf" srcId="{D14308D7-AE0A-4017-96BC-19E3B0945D98}" destId="{58567880-22DC-488D-ADF0-EDB93FA0E257}" srcOrd="1" destOrd="0" presId="urn:microsoft.com/office/officeart/2005/8/layout/lProcess1"/>
    <dgm:cxn modelId="{E0FD65E0-96A7-4745-9114-7ED055AC21AE}" type="presParOf" srcId="{D14308D7-AE0A-4017-96BC-19E3B0945D98}" destId="{6EEE6683-C7E8-4C4E-8E6F-9CBCB54EBFAD}" srcOrd="2" destOrd="0" presId="urn:microsoft.com/office/officeart/2005/8/layout/lProcess1"/>
    <dgm:cxn modelId="{C5FC903A-8214-46D4-A0EB-DC1FB741B7E1}" type="presParOf" srcId="{D14308D7-AE0A-4017-96BC-19E3B0945D98}" destId="{B029001E-07D1-49AD-B97B-8C3ABB77F700}" srcOrd="3" destOrd="0" presId="urn:microsoft.com/office/officeart/2005/8/layout/lProcess1"/>
    <dgm:cxn modelId="{9EB175B6-1619-4FF7-95D9-0A3213DB6854}" type="presParOf" srcId="{D14308D7-AE0A-4017-96BC-19E3B0945D98}" destId="{F03AAF81-D1D8-4D98-AEDC-DC00C3F54EAE}" srcOrd="4" destOrd="0" presId="urn:microsoft.com/office/officeart/2005/8/layout/lProcess1"/>
    <dgm:cxn modelId="{1F395905-13B4-46E2-9E2C-A27C5F7E7716}" type="presParOf" srcId="{D14308D7-AE0A-4017-96BC-19E3B0945D98}" destId="{357B8704-671F-4FCB-BEED-1E891BEF2CEE}" srcOrd="5" destOrd="0" presId="urn:microsoft.com/office/officeart/2005/8/layout/lProcess1"/>
    <dgm:cxn modelId="{205B4B73-18EA-4E16-B02F-EF929ADFF256}" type="presParOf" srcId="{D14308D7-AE0A-4017-96BC-19E3B0945D98}" destId="{6525B020-02A4-497E-84B1-900330EBC418}" srcOrd="6"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2" qsCatId="simple" csTypeId="urn:microsoft.com/office/officeart/2005/8/colors/colorful3" csCatId="colorful" phldr="1"/>
      <dgm:spPr/>
      <dgm:t>
        <a:bodyPr/>
        <a:lstStyle/>
        <a:p>
          <a:endParaRPr lang="en-US"/>
        </a:p>
      </dgm:t>
    </dgm:pt>
    <dgm:pt modelId="{8A039173-F99A-4868-83E6-69EADF22846F}">
      <dgm:prSet custT="1"/>
      <dgm:spPr/>
      <dgm:t>
        <a:bodyPr/>
        <a:lstStyle/>
        <a:p>
          <a:r>
            <a:rPr lang="en-US" sz="1800" dirty="0"/>
            <a:t>Module 9: SQL Server Query Tuning</a:t>
          </a:r>
        </a:p>
      </dgm:t>
    </dgm:pt>
    <dgm:pt modelId="{643E7E61-DDE3-41C1-BABD-1E788DDEC2F0}" type="parTrans" cxnId="{8FE086EF-5577-4E25-99CB-814E22EF5E66}">
      <dgm:prSet/>
      <dgm:spPr/>
      <dgm:t>
        <a:bodyPr/>
        <a:lstStyle/>
        <a:p>
          <a:endParaRPr lang="en-US"/>
        </a:p>
      </dgm:t>
    </dgm:pt>
    <dgm:pt modelId="{B3FA86B6-471F-4206-8C81-FB8AD0B21E5C}" type="sibTrans" cxnId="{8FE086EF-5577-4E25-99CB-814E22EF5E66}">
      <dgm:prSet/>
      <dgm:spPr/>
      <dgm:t>
        <a:bodyPr/>
        <a:lstStyle/>
        <a:p>
          <a:endParaRPr lang="en-US"/>
        </a:p>
      </dgm:t>
    </dgm:pt>
    <dgm:pt modelId="{A737A8E4-0E5A-443B-AABF-F9AD1BC9F621}">
      <dgm:prSet custT="1"/>
      <dgm:spPr/>
      <dgm:t>
        <a:bodyPr/>
        <a:lstStyle/>
        <a:p>
          <a:r>
            <a:rPr lang="fr-FR" sz="1800" dirty="0"/>
            <a:t>Sargable expressions</a:t>
          </a:r>
          <a:endParaRPr lang="en-US" sz="1800" dirty="0"/>
        </a:p>
      </dgm:t>
    </dgm:pt>
    <dgm:pt modelId="{83842DCC-7D9B-4552-B811-370D0E554CD6}" type="parTrans" cxnId="{3C13D920-A201-4B5D-9E74-D1E5B7520EB7}">
      <dgm:prSet/>
      <dgm:spPr/>
      <dgm:t>
        <a:bodyPr/>
        <a:lstStyle/>
        <a:p>
          <a:endParaRPr lang="en-US"/>
        </a:p>
      </dgm:t>
    </dgm:pt>
    <dgm:pt modelId="{7CCDE8BB-3112-49C9-A80A-72390257CC3A}" type="sibTrans" cxnId="{3C13D920-A201-4B5D-9E74-D1E5B7520EB7}">
      <dgm:prSet/>
      <dgm:spPr/>
      <dgm:t>
        <a:bodyPr/>
        <a:lstStyle/>
        <a:p>
          <a:endParaRPr lang="en-US"/>
        </a:p>
      </dgm:t>
    </dgm:pt>
    <dgm:pt modelId="{1A3AF746-E03E-4C9B-AAB6-3856FA9A4B4D}">
      <dgm:prSet custT="1"/>
      <dgm:spPr/>
      <dgm:t>
        <a:bodyPr/>
        <a:lstStyle/>
        <a:p>
          <a:r>
            <a:rPr lang="en-US" sz="1800" dirty="0"/>
            <a:t>Query Hints</a:t>
          </a:r>
        </a:p>
      </dgm:t>
    </dgm:pt>
    <dgm:pt modelId="{A2327020-1C40-4CC2-AC21-B1F3E6E0E0D1}" type="parTrans" cxnId="{0FAB2E1D-F530-482D-A3F9-38AEC66F6840}">
      <dgm:prSet/>
      <dgm:spPr/>
      <dgm:t>
        <a:bodyPr/>
        <a:lstStyle/>
        <a:p>
          <a:endParaRPr lang="en-US"/>
        </a:p>
      </dgm:t>
    </dgm:pt>
    <dgm:pt modelId="{0EA4752D-E2FD-4FBB-868F-F85E472C1FE7}" type="sibTrans" cxnId="{0FAB2E1D-F530-482D-A3F9-38AEC66F6840}">
      <dgm:prSet/>
      <dgm:spPr/>
      <dgm:t>
        <a:bodyPr/>
        <a:lstStyle/>
        <a:p>
          <a:endParaRPr lang="en-US"/>
        </a:p>
      </dgm:t>
    </dgm:pt>
    <dgm:pt modelId="{48F77688-90F5-4532-A66B-2292B52A2C3E}">
      <dgm:prSet custT="1"/>
      <dgm:spPr/>
      <dgm:t>
        <a:bodyPr/>
        <a:lstStyle/>
        <a:p>
          <a:r>
            <a:rPr lang="en-US" sz="1800" dirty="0"/>
            <a:t>Module 10: SQL Server Performance Tools</a:t>
          </a:r>
        </a:p>
      </dgm:t>
    </dgm:pt>
    <dgm:pt modelId="{8EAE7A00-1F42-431E-B988-898C9DDDB9EF}" type="parTrans" cxnId="{DE75B1C6-ACEE-47F2-8E73-475F243AE808}">
      <dgm:prSet/>
      <dgm:spPr/>
      <dgm:t>
        <a:bodyPr/>
        <a:lstStyle/>
        <a:p>
          <a:endParaRPr lang="en-US"/>
        </a:p>
      </dgm:t>
    </dgm:pt>
    <dgm:pt modelId="{3A1095C3-E445-4E63-9A3E-43A62A1539B1}" type="sibTrans" cxnId="{DE75B1C6-ACEE-47F2-8E73-475F243AE808}">
      <dgm:prSet/>
      <dgm:spPr/>
      <dgm:t>
        <a:bodyPr/>
        <a:lstStyle/>
        <a:p>
          <a:endParaRPr lang="en-US"/>
        </a:p>
      </dgm:t>
    </dgm:pt>
    <dgm:pt modelId="{8389ACEC-7240-4059-8822-44B897F3187E}">
      <dgm:prSet custT="1"/>
      <dgm:spPr/>
      <dgm:t>
        <a:bodyPr/>
        <a:lstStyle/>
        <a:p>
          <a:r>
            <a:rPr lang="en-US" sz="1800" dirty="0"/>
            <a:t>Resource Governor</a:t>
          </a:r>
        </a:p>
      </dgm:t>
    </dgm:pt>
    <dgm:pt modelId="{1F0A3EBF-2603-4EBB-A219-589DB457A27E}" type="parTrans" cxnId="{10146711-1124-4458-9225-2F5BB0730584}">
      <dgm:prSet/>
      <dgm:spPr/>
      <dgm:t>
        <a:bodyPr/>
        <a:lstStyle/>
        <a:p>
          <a:endParaRPr lang="en-US"/>
        </a:p>
      </dgm:t>
    </dgm:pt>
    <dgm:pt modelId="{B06BB41A-213B-44D9-AEB0-174D093D4794}" type="sibTrans" cxnId="{10146711-1124-4458-9225-2F5BB0730584}">
      <dgm:prSet/>
      <dgm:spPr/>
      <dgm:t>
        <a:bodyPr/>
        <a:lstStyle/>
        <a:p>
          <a:endParaRPr lang="en-US"/>
        </a:p>
      </dgm:t>
    </dgm:pt>
    <dgm:pt modelId="{75AE923C-2D73-4D10-9E0E-769E7665A34D}">
      <dgm:prSet custT="1"/>
      <dgm:spPr/>
      <dgm:t>
        <a:bodyPr/>
        <a:lstStyle/>
        <a:p>
          <a:r>
            <a:rPr lang="en-US" sz="1800" dirty="0"/>
            <a:t>Query Troubleshooting</a:t>
          </a:r>
        </a:p>
      </dgm:t>
    </dgm:pt>
    <dgm:pt modelId="{0C85968B-C0DE-44FB-9318-A7F0E2413868}" type="parTrans" cxnId="{C42B123F-918E-4DB1-A552-673651B68F3A}">
      <dgm:prSet/>
      <dgm:spPr/>
      <dgm:t>
        <a:bodyPr/>
        <a:lstStyle/>
        <a:p>
          <a:endParaRPr lang="en-US"/>
        </a:p>
      </dgm:t>
    </dgm:pt>
    <dgm:pt modelId="{989A33FA-2EBF-44A7-A4F4-D66B498CD801}" type="sibTrans" cxnId="{C42B123F-918E-4DB1-A552-673651B68F3A}">
      <dgm:prSet/>
      <dgm:spPr/>
      <dgm:t>
        <a:bodyPr/>
        <a:lstStyle/>
        <a:p>
          <a:endParaRPr lang="en-US"/>
        </a:p>
      </dgm:t>
    </dgm:pt>
    <dgm:pt modelId="{64ABF185-6016-4A3D-9EA5-24780EB78536}">
      <dgm:prSet custT="1"/>
      <dgm:spPr/>
      <dgm:t>
        <a:bodyPr/>
        <a:lstStyle/>
        <a:p>
          <a:r>
            <a:rPr lang="en-US" sz="1800" dirty="0"/>
            <a:t>Extended Events</a:t>
          </a:r>
        </a:p>
      </dgm:t>
    </dgm:pt>
    <dgm:pt modelId="{6101373D-EA03-40B7-9047-9262AFE78577}" type="parTrans" cxnId="{7491C137-613D-49B4-BE9C-727031EFB11A}">
      <dgm:prSet/>
      <dgm:spPr/>
      <dgm:t>
        <a:bodyPr/>
        <a:lstStyle/>
        <a:p>
          <a:endParaRPr lang="en-US"/>
        </a:p>
      </dgm:t>
    </dgm:pt>
    <dgm:pt modelId="{EBC23D90-3685-4633-8F9B-1042BC501700}" type="sibTrans" cxnId="{7491C137-613D-49B4-BE9C-727031EFB11A}">
      <dgm:prSet/>
      <dgm:spPr/>
      <dgm:t>
        <a:bodyPr/>
        <a:lstStyle/>
        <a:p>
          <a:endParaRPr lang="en-US"/>
        </a:p>
      </dgm:t>
    </dgm:pt>
    <dgm:pt modelId="{F51EEEC2-515E-4E5E-90FB-A1104A59B391}" type="pres">
      <dgm:prSet presAssocID="{01E1DF0C-A459-49AA-8F8D-34E69D8DBE3E}" presName="Name0" presStyleCnt="0">
        <dgm:presLayoutVars>
          <dgm:dir/>
          <dgm:animLvl val="lvl"/>
          <dgm:resizeHandles val="exact"/>
        </dgm:presLayoutVars>
      </dgm:prSet>
      <dgm:spPr/>
    </dgm:pt>
    <dgm:pt modelId="{F60C99C8-E646-49A3-928A-9C378AF61403}" type="pres">
      <dgm:prSet presAssocID="{8A039173-F99A-4868-83E6-69EADF22846F}" presName="vertFlow" presStyleCnt="0"/>
      <dgm:spPr/>
    </dgm:pt>
    <dgm:pt modelId="{140E326E-E2CB-4D32-B70C-1A5F82F5F957}" type="pres">
      <dgm:prSet presAssocID="{8A039173-F99A-4868-83E6-69EADF22846F}" presName="header" presStyleLbl="node1" presStyleIdx="0" presStyleCnt="2" custScaleY="178105"/>
      <dgm:spPr/>
    </dgm:pt>
    <dgm:pt modelId="{90F6B45D-6A72-474E-99F3-5094BF144B65}" type="pres">
      <dgm:prSet presAssocID="{83842DCC-7D9B-4552-B811-370D0E554CD6}" presName="parTrans" presStyleLbl="sibTrans2D1" presStyleIdx="0" presStyleCnt="5"/>
      <dgm:spPr/>
    </dgm:pt>
    <dgm:pt modelId="{433380EA-0F97-439F-BB5B-7F1FF6368657}" type="pres">
      <dgm:prSet presAssocID="{A737A8E4-0E5A-443B-AABF-F9AD1BC9F621}" presName="child" presStyleLbl="alignAccFollowNode1" presStyleIdx="0" presStyleCnt="5">
        <dgm:presLayoutVars>
          <dgm:chMax val="0"/>
          <dgm:bulletEnabled val="1"/>
        </dgm:presLayoutVars>
      </dgm:prSet>
      <dgm:spPr/>
    </dgm:pt>
    <dgm:pt modelId="{EBA25B93-C6DD-40C1-B2C9-7DD3B823265A}" type="pres">
      <dgm:prSet presAssocID="{7CCDE8BB-3112-49C9-A80A-72390257CC3A}" presName="sibTrans" presStyleLbl="sibTrans2D1" presStyleIdx="1" presStyleCnt="5"/>
      <dgm:spPr/>
    </dgm:pt>
    <dgm:pt modelId="{9373BB45-F166-4F8E-8882-A443AFFED221}" type="pres">
      <dgm:prSet presAssocID="{1A3AF746-E03E-4C9B-AAB6-3856FA9A4B4D}" presName="child" presStyleLbl="alignAccFollowNode1" presStyleIdx="1" presStyleCnt="5">
        <dgm:presLayoutVars>
          <dgm:chMax val="0"/>
          <dgm:bulletEnabled val="1"/>
        </dgm:presLayoutVars>
      </dgm:prSet>
      <dgm:spPr/>
    </dgm:pt>
    <dgm:pt modelId="{5270A3B3-C429-4A0E-8E01-7A93FF1C1AF3}" type="pres">
      <dgm:prSet presAssocID="{0EA4752D-E2FD-4FBB-868F-F85E472C1FE7}" presName="sibTrans" presStyleLbl="sibTrans2D1" presStyleIdx="2" presStyleCnt="5"/>
      <dgm:spPr/>
    </dgm:pt>
    <dgm:pt modelId="{4333360E-24B0-494D-92DA-298C9967C214}" type="pres">
      <dgm:prSet presAssocID="{75AE923C-2D73-4D10-9E0E-769E7665A34D}" presName="child" presStyleLbl="alignAccFollowNode1" presStyleIdx="2" presStyleCnt="5">
        <dgm:presLayoutVars>
          <dgm:chMax val="0"/>
          <dgm:bulletEnabled val="1"/>
        </dgm:presLayoutVars>
      </dgm:prSet>
      <dgm:spPr/>
    </dgm:pt>
    <dgm:pt modelId="{7E13E46D-1875-490C-B96D-D6ED814A4130}" type="pres">
      <dgm:prSet presAssocID="{8A039173-F99A-4868-83E6-69EADF22846F}" presName="hSp" presStyleCnt="0"/>
      <dgm:spPr/>
    </dgm:pt>
    <dgm:pt modelId="{639181EA-C5EC-41DB-97FB-9A840A3B9903}" type="pres">
      <dgm:prSet presAssocID="{48F77688-90F5-4532-A66B-2292B52A2C3E}" presName="vertFlow" presStyleCnt="0"/>
      <dgm:spPr/>
    </dgm:pt>
    <dgm:pt modelId="{079F5C22-BB7D-4827-B7A1-A0611FB6958C}" type="pres">
      <dgm:prSet presAssocID="{48F77688-90F5-4532-A66B-2292B52A2C3E}" presName="header" presStyleLbl="node1" presStyleIdx="1" presStyleCnt="2" custScaleY="171244"/>
      <dgm:spPr/>
    </dgm:pt>
    <dgm:pt modelId="{DE024214-E65D-4036-B044-36071D0F0491}" type="pres">
      <dgm:prSet presAssocID="{6101373D-EA03-40B7-9047-9262AFE78577}" presName="parTrans" presStyleLbl="sibTrans2D1" presStyleIdx="3" presStyleCnt="5"/>
      <dgm:spPr/>
    </dgm:pt>
    <dgm:pt modelId="{DA5CE677-C890-40E5-864B-5AE6E37F20D1}" type="pres">
      <dgm:prSet presAssocID="{64ABF185-6016-4A3D-9EA5-24780EB78536}" presName="child" presStyleLbl="alignAccFollowNode1" presStyleIdx="3" presStyleCnt="5">
        <dgm:presLayoutVars>
          <dgm:chMax val="0"/>
          <dgm:bulletEnabled val="1"/>
        </dgm:presLayoutVars>
      </dgm:prSet>
      <dgm:spPr/>
    </dgm:pt>
    <dgm:pt modelId="{C5743362-1E2B-426A-AC8D-B97C1A44414B}" type="pres">
      <dgm:prSet presAssocID="{EBC23D90-3685-4633-8F9B-1042BC501700}" presName="sibTrans" presStyleLbl="sibTrans2D1" presStyleIdx="4" presStyleCnt="5"/>
      <dgm:spPr/>
    </dgm:pt>
    <dgm:pt modelId="{11456715-8B6E-42DC-BCB2-CE50F9064BB9}" type="pres">
      <dgm:prSet presAssocID="{8389ACEC-7240-4059-8822-44B897F3187E}" presName="child" presStyleLbl="alignAccFollowNode1" presStyleIdx="4" presStyleCnt="5">
        <dgm:presLayoutVars>
          <dgm:chMax val="0"/>
          <dgm:bulletEnabled val="1"/>
        </dgm:presLayoutVars>
      </dgm:prSet>
      <dgm:spPr/>
    </dgm:pt>
  </dgm:ptLst>
  <dgm:cxnLst>
    <dgm:cxn modelId="{10146711-1124-4458-9225-2F5BB0730584}" srcId="{48F77688-90F5-4532-A66B-2292B52A2C3E}" destId="{8389ACEC-7240-4059-8822-44B897F3187E}" srcOrd="1" destOrd="0" parTransId="{1F0A3EBF-2603-4EBB-A219-589DB457A27E}" sibTransId="{B06BB41A-213B-44D9-AEB0-174D093D4794}"/>
    <dgm:cxn modelId="{0FAB2E1D-F530-482D-A3F9-38AEC66F6840}" srcId="{8A039173-F99A-4868-83E6-69EADF22846F}" destId="{1A3AF746-E03E-4C9B-AAB6-3856FA9A4B4D}" srcOrd="1" destOrd="0" parTransId="{A2327020-1C40-4CC2-AC21-B1F3E6E0E0D1}" sibTransId="{0EA4752D-E2FD-4FBB-868F-F85E472C1FE7}"/>
    <dgm:cxn modelId="{C4E5F31F-D349-4427-B991-E712FC476D54}" type="presOf" srcId="{7CCDE8BB-3112-49C9-A80A-72390257CC3A}" destId="{EBA25B93-C6DD-40C1-B2C9-7DD3B823265A}" srcOrd="0" destOrd="0" presId="urn:microsoft.com/office/officeart/2005/8/layout/lProcess1"/>
    <dgm:cxn modelId="{3C13D920-A201-4B5D-9E74-D1E5B7520EB7}" srcId="{8A039173-F99A-4868-83E6-69EADF22846F}" destId="{A737A8E4-0E5A-443B-AABF-F9AD1BC9F621}" srcOrd="0" destOrd="0" parTransId="{83842DCC-7D9B-4552-B811-370D0E554CD6}" sibTransId="{7CCDE8BB-3112-49C9-A80A-72390257CC3A}"/>
    <dgm:cxn modelId="{A429D22A-2151-47BA-A251-D0DA0609C32B}" type="presOf" srcId="{EBC23D90-3685-4633-8F9B-1042BC501700}" destId="{C5743362-1E2B-426A-AC8D-B97C1A44414B}" srcOrd="0" destOrd="0" presId="urn:microsoft.com/office/officeart/2005/8/layout/lProcess1"/>
    <dgm:cxn modelId="{7491C137-613D-49B4-BE9C-727031EFB11A}" srcId="{48F77688-90F5-4532-A66B-2292B52A2C3E}" destId="{64ABF185-6016-4A3D-9EA5-24780EB78536}" srcOrd="0" destOrd="0" parTransId="{6101373D-EA03-40B7-9047-9262AFE78577}" sibTransId="{EBC23D90-3685-4633-8F9B-1042BC501700}"/>
    <dgm:cxn modelId="{C42B123F-918E-4DB1-A552-673651B68F3A}" srcId="{8A039173-F99A-4868-83E6-69EADF22846F}" destId="{75AE923C-2D73-4D10-9E0E-769E7665A34D}" srcOrd="2" destOrd="0" parTransId="{0C85968B-C0DE-44FB-9318-A7F0E2413868}" sibTransId="{989A33FA-2EBF-44A7-A4F4-D66B498CD801}"/>
    <dgm:cxn modelId="{AF3C635C-7EE9-4150-AECA-936C08B94385}" type="presOf" srcId="{75AE923C-2D73-4D10-9E0E-769E7665A34D}" destId="{4333360E-24B0-494D-92DA-298C9967C214}" srcOrd="0" destOrd="0" presId="urn:microsoft.com/office/officeart/2005/8/layout/lProcess1"/>
    <dgm:cxn modelId="{1186B166-6C2C-45D4-886E-214BD38339E4}" type="presOf" srcId="{1A3AF746-E03E-4C9B-AAB6-3856FA9A4B4D}" destId="{9373BB45-F166-4F8E-8882-A443AFFED221}" srcOrd="0" destOrd="0" presId="urn:microsoft.com/office/officeart/2005/8/layout/lProcess1"/>
    <dgm:cxn modelId="{AC58C17F-19C0-40DD-B18E-973B2A779D67}" type="presOf" srcId="{48F77688-90F5-4532-A66B-2292B52A2C3E}" destId="{079F5C22-BB7D-4827-B7A1-A0611FB6958C}" srcOrd="0" destOrd="0" presId="urn:microsoft.com/office/officeart/2005/8/layout/lProcess1"/>
    <dgm:cxn modelId="{8074A495-3311-4E3D-B455-1B2DD34E74C5}" type="presOf" srcId="{6101373D-EA03-40B7-9047-9262AFE78577}" destId="{DE024214-E65D-4036-B044-36071D0F0491}" srcOrd="0" destOrd="0" presId="urn:microsoft.com/office/officeart/2005/8/layout/lProcess1"/>
    <dgm:cxn modelId="{C81CB595-6EBB-4AA6-A8FA-2B6D1A898357}" type="presOf" srcId="{83842DCC-7D9B-4552-B811-370D0E554CD6}" destId="{90F6B45D-6A72-474E-99F3-5094BF144B65}" srcOrd="0" destOrd="0" presId="urn:microsoft.com/office/officeart/2005/8/layout/lProcess1"/>
    <dgm:cxn modelId="{860E31AC-FADA-4DC1-A88F-59770E2EF850}" type="presOf" srcId="{A737A8E4-0E5A-443B-AABF-F9AD1BC9F621}" destId="{433380EA-0F97-439F-BB5B-7F1FF6368657}" srcOrd="0" destOrd="0" presId="urn:microsoft.com/office/officeart/2005/8/layout/lProcess1"/>
    <dgm:cxn modelId="{DB7159AC-050D-4EF3-AF0C-DCD55198035B}" type="presOf" srcId="{01E1DF0C-A459-49AA-8F8D-34E69D8DBE3E}" destId="{F51EEEC2-515E-4E5E-90FB-A1104A59B391}" srcOrd="0" destOrd="0" presId="urn:microsoft.com/office/officeart/2005/8/layout/lProcess1"/>
    <dgm:cxn modelId="{00A3B3BD-2BF4-4301-B394-AE663AB8557B}" type="presOf" srcId="{8389ACEC-7240-4059-8822-44B897F3187E}" destId="{11456715-8B6E-42DC-BCB2-CE50F9064BB9}" srcOrd="0" destOrd="0" presId="urn:microsoft.com/office/officeart/2005/8/layout/lProcess1"/>
    <dgm:cxn modelId="{DE75B1C6-ACEE-47F2-8E73-475F243AE808}" srcId="{01E1DF0C-A459-49AA-8F8D-34E69D8DBE3E}" destId="{48F77688-90F5-4532-A66B-2292B52A2C3E}" srcOrd="1" destOrd="0" parTransId="{8EAE7A00-1F42-431E-B988-898C9DDDB9EF}" sibTransId="{3A1095C3-E445-4E63-9A3E-43A62A1539B1}"/>
    <dgm:cxn modelId="{FFE6D2D4-A0D4-46A8-8AC9-26F5067E301F}" type="presOf" srcId="{0EA4752D-E2FD-4FBB-868F-F85E472C1FE7}" destId="{5270A3B3-C429-4A0E-8E01-7A93FF1C1AF3}" srcOrd="0" destOrd="0" presId="urn:microsoft.com/office/officeart/2005/8/layout/lProcess1"/>
    <dgm:cxn modelId="{1F0762D7-8204-48A8-9D71-3BD0EF36F8EF}" type="presOf" srcId="{8A039173-F99A-4868-83E6-69EADF22846F}" destId="{140E326E-E2CB-4D32-B70C-1A5F82F5F957}" srcOrd="0" destOrd="0" presId="urn:microsoft.com/office/officeart/2005/8/layout/lProcess1"/>
    <dgm:cxn modelId="{270B37DB-4EBF-4BE0-A34D-FBD2A043A6B1}" type="presOf" srcId="{64ABF185-6016-4A3D-9EA5-24780EB78536}" destId="{DA5CE677-C890-40E5-864B-5AE6E37F20D1}" srcOrd="0" destOrd="0" presId="urn:microsoft.com/office/officeart/2005/8/layout/lProcess1"/>
    <dgm:cxn modelId="{8FE086EF-5577-4E25-99CB-814E22EF5E66}" srcId="{01E1DF0C-A459-49AA-8F8D-34E69D8DBE3E}" destId="{8A039173-F99A-4868-83E6-69EADF22846F}" srcOrd="0" destOrd="0" parTransId="{643E7E61-DDE3-41C1-BABD-1E788DDEC2F0}" sibTransId="{B3FA86B6-471F-4206-8C81-FB8AD0B21E5C}"/>
    <dgm:cxn modelId="{C11A5F0A-8DCF-4794-93B7-0D3BAAEE843C}" type="presParOf" srcId="{F51EEEC2-515E-4E5E-90FB-A1104A59B391}" destId="{F60C99C8-E646-49A3-928A-9C378AF61403}" srcOrd="0" destOrd="0" presId="urn:microsoft.com/office/officeart/2005/8/layout/lProcess1"/>
    <dgm:cxn modelId="{CD0E9959-34ED-4EFB-A7F2-5C090853F393}" type="presParOf" srcId="{F60C99C8-E646-49A3-928A-9C378AF61403}" destId="{140E326E-E2CB-4D32-B70C-1A5F82F5F957}" srcOrd="0" destOrd="0" presId="urn:microsoft.com/office/officeart/2005/8/layout/lProcess1"/>
    <dgm:cxn modelId="{667A83AD-E404-4BAD-8F8E-4C7524C3751F}" type="presParOf" srcId="{F60C99C8-E646-49A3-928A-9C378AF61403}" destId="{90F6B45D-6A72-474E-99F3-5094BF144B65}" srcOrd="1" destOrd="0" presId="urn:microsoft.com/office/officeart/2005/8/layout/lProcess1"/>
    <dgm:cxn modelId="{11BC0D13-DD22-4AE1-90B8-61A937A7F688}" type="presParOf" srcId="{F60C99C8-E646-49A3-928A-9C378AF61403}" destId="{433380EA-0F97-439F-BB5B-7F1FF6368657}" srcOrd="2" destOrd="0" presId="urn:microsoft.com/office/officeart/2005/8/layout/lProcess1"/>
    <dgm:cxn modelId="{6463DC3D-BC67-4F71-808E-7E23A6DC1D70}" type="presParOf" srcId="{F60C99C8-E646-49A3-928A-9C378AF61403}" destId="{EBA25B93-C6DD-40C1-B2C9-7DD3B823265A}" srcOrd="3" destOrd="0" presId="urn:microsoft.com/office/officeart/2005/8/layout/lProcess1"/>
    <dgm:cxn modelId="{BC49AC3F-98A9-43D8-97A4-97824C72023A}" type="presParOf" srcId="{F60C99C8-E646-49A3-928A-9C378AF61403}" destId="{9373BB45-F166-4F8E-8882-A443AFFED221}" srcOrd="4" destOrd="0" presId="urn:microsoft.com/office/officeart/2005/8/layout/lProcess1"/>
    <dgm:cxn modelId="{0C8E1DE9-B868-40E9-933E-0B61FD168A0F}" type="presParOf" srcId="{F60C99C8-E646-49A3-928A-9C378AF61403}" destId="{5270A3B3-C429-4A0E-8E01-7A93FF1C1AF3}" srcOrd="5" destOrd="0" presId="urn:microsoft.com/office/officeart/2005/8/layout/lProcess1"/>
    <dgm:cxn modelId="{7D833C2C-EF42-4A4E-B3A6-08E89C9970BD}" type="presParOf" srcId="{F60C99C8-E646-49A3-928A-9C378AF61403}" destId="{4333360E-24B0-494D-92DA-298C9967C214}" srcOrd="6" destOrd="0" presId="urn:microsoft.com/office/officeart/2005/8/layout/lProcess1"/>
    <dgm:cxn modelId="{FBBA3CA7-9230-4315-99A4-A2B729A06A61}" type="presParOf" srcId="{F51EEEC2-515E-4E5E-90FB-A1104A59B391}" destId="{7E13E46D-1875-490C-B96D-D6ED814A4130}" srcOrd="1" destOrd="0" presId="urn:microsoft.com/office/officeart/2005/8/layout/lProcess1"/>
    <dgm:cxn modelId="{35F5EDF7-8EBA-4C77-8E86-213FE89A113E}" type="presParOf" srcId="{F51EEEC2-515E-4E5E-90FB-A1104A59B391}" destId="{639181EA-C5EC-41DB-97FB-9A840A3B9903}" srcOrd="2" destOrd="0" presId="urn:microsoft.com/office/officeart/2005/8/layout/lProcess1"/>
    <dgm:cxn modelId="{D406B453-33A0-4FB3-B1DA-C844AC916FCF}" type="presParOf" srcId="{639181EA-C5EC-41DB-97FB-9A840A3B9903}" destId="{079F5C22-BB7D-4827-B7A1-A0611FB6958C}" srcOrd="0" destOrd="0" presId="urn:microsoft.com/office/officeart/2005/8/layout/lProcess1"/>
    <dgm:cxn modelId="{4C1D5271-7E2A-4D58-8F7D-12C25D7B48A5}" type="presParOf" srcId="{639181EA-C5EC-41DB-97FB-9A840A3B9903}" destId="{DE024214-E65D-4036-B044-36071D0F0491}" srcOrd="1" destOrd="0" presId="urn:microsoft.com/office/officeart/2005/8/layout/lProcess1"/>
    <dgm:cxn modelId="{2C0DC803-B0D6-4F5A-A1F0-357BEA67916F}" type="presParOf" srcId="{639181EA-C5EC-41DB-97FB-9A840A3B9903}" destId="{DA5CE677-C890-40E5-864B-5AE6E37F20D1}" srcOrd="2" destOrd="0" presId="urn:microsoft.com/office/officeart/2005/8/layout/lProcess1"/>
    <dgm:cxn modelId="{1DD0B7E4-00DD-47D2-9986-8B0D0B981003}" type="presParOf" srcId="{639181EA-C5EC-41DB-97FB-9A840A3B9903}" destId="{C5743362-1E2B-426A-AC8D-B97C1A44414B}" srcOrd="3" destOrd="0" presId="urn:microsoft.com/office/officeart/2005/8/layout/lProcess1"/>
    <dgm:cxn modelId="{7465BDE4-5261-4E4E-8FFE-EBF4DCEC7267}" type="presParOf" srcId="{639181EA-C5EC-41DB-97FB-9A840A3B9903}" destId="{11456715-8B6E-42DC-BCB2-CE50F9064BB9}" srcOrd="4"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687A28-7933-40FE-B90E-1BF426CEEBE9}">
      <dsp:nvSpPr>
        <dsp:cNvPr id="0" name=""/>
        <dsp:cNvSpPr/>
      </dsp:nvSpPr>
      <dsp:spPr>
        <a:xfrm>
          <a:off x="1173198" y="292"/>
          <a:ext cx="4212801" cy="1053200"/>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1: SQL Server Architecture, Scheduling and Waits</a:t>
          </a:r>
        </a:p>
      </dsp:txBody>
      <dsp:txXfrm>
        <a:off x="1204045" y="31139"/>
        <a:ext cx="4151107" cy="991506"/>
      </dsp:txXfrm>
    </dsp:sp>
    <dsp:sp modelId="{0024E3D4-969F-4562-B6F1-432DAB602984}">
      <dsp:nvSpPr>
        <dsp:cNvPr id="0" name=""/>
        <dsp:cNvSpPr/>
      </dsp:nvSpPr>
      <dsp:spPr>
        <a:xfrm rot="5400000">
          <a:off x="3187444" y="1145647"/>
          <a:ext cx="184310" cy="184310"/>
        </a:xfrm>
        <a:prstGeom prst="rightArrow">
          <a:avLst>
            <a:gd name="adj1" fmla="val 667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A7104F3A-6625-4D19-A900-803AF04F48D1}">
      <dsp:nvSpPr>
        <dsp:cNvPr id="0" name=""/>
        <dsp:cNvSpPr/>
      </dsp:nvSpPr>
      <dsp:spPr>
        <a:xfrm>
          <a:off x="1173198" y="1422112"/>
          <a:ext cx="4212801" cy="1053200"/>
        </a:xfrm>
        <a:prstGeom prst="roundRect">
          <a:avLst>
            <a:gd name="adj" fmla="val 1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OS</a:t>
          </a:r>
        </a:p>
      </dsp:txBody>
      <dsp:txXfrm>
        <a:off x="1204045" y="1452959"/>
        <a:ext cx="4151107" cy="991506"/>
      </dsp:txXfrm>
    </dsp:sp>
    <dsp:sp modelId="{B668CADA-40A7-4DA8-8557-13CA6A501E83}">
      <dsp:nvSpPr>
        <dsp:cNvPr id="0" name=""/>
        <dsp:cNvSpPr/>
      </dsp:nvSpPr>
      <dsp:spPr>
        <a:xfrm rot="5400000">
          <a:off x="3187444" y="2567467"/>
          <a:ext cx="184310" cy="184310"/>
        </a:xfrm>
        <a:prstGeom prst="rightArrow">
          <a:avLst>
            <a:gd name="adj1" fmla="val 66700"/>
            <a:gd name="adj2" fmla="val 50000"/>
          </a:avLst>
        </a:prstGeom>
        <a:solidFill>
          <a:schemeClr val="accent2">
            <a:hueOff val="-533499"/>
            <a:satOff val="11076"/>
            <a:lumOff val="118"/>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6C862942-8E9E-4614-BCDD-E72C2B17EBC3}">
      <dsp:nvSpPr>
        <dsp:cNvPr id="0" name=""/>
        <dsp:cNvSpPr/>
      </dsp:nvSpPr>
      <dsp:spPr>
        <a:xfrm>
          <a:off x="1173198" y="2843933"/>
          <a:ext cx="4212801" cy="1053200"/>
        </a:xfrm>
        <a:prstGeom prst="roundRect">
          <a:avLst>
            <a:gd name="adj" fmla="val 10000"/>
          </a:avLst>
        </a:prstGeom>
        <a:solidFill>
          <a:schemeClr val="accent2">
            <a:tint val="40000"/>
            <a:alpha val="90000"/>
            <a:hueOff val="-697703"/>
            <a:satOff val="1865"/>
            <a:lumOff val="231"/>
            <a:alphaOff val="0"/>
          </a:schemeClr>
        </a:solidFill>
        <a:ln w="12700" cap="flat" cmpd="sng" algn="ctr">
          <a:solidFill>
            <a:schemeClr val="accent2">
              <a:tint val="40000"/>
              <a:alpha val="90000"/>
              <a:hueOff val="-697703"/>
              <a:satOff val="1865"/>
              <a:lumOff val="23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Task Scheduling</a:t>
          </a:r>
        </a:p>
      </dsp:txBody>
      <dsp:txXfrm>
        <a:off x="1204045" y="2874780"/>
        <a:ext cx="4151107" cy="991506"/>
      </dsp:txXfrm>
    </dsp:sp>
    <dsp:sp modelId="{9FB22010-0258-42A6-A13A-6BCC5A2768D8}">
      <dsp:nvSpPr>
        <dsp:cNvPr id="0" name=""/>
        <dsp:cNvSpPr/>
      </dsp:nvSpPr>
      <dsp:spPr>
        <a:xfrm rot="5400000">
          <a:off x="3187444" y="3989288"/>
          <a:ext cx="184310" cy="184310"/>
        </a:xfrm>
        <a:prstGeom prst="rightArrow">
          <a:avLst>
            <a:gd name="adj1" fmla="val 66700"/>
            <a:gd name="adj2" fmla="val 50000"/>
          </a:avLst>
        </a:prstGeom>
        <a:solidFill>
          <a:schemeClr val="accent2">
            <a:hueOff val="-1066999"/>
            <a:satOff val="22153"/>
            <a:lumOff val="235"/>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106C2846-DE02-40A4-A05F-80CAD2B38434}">
      <dsp:nvSpPr>
        <dsp:cNvPr id="0" name=""/>
        <dsp:cNvSpPr/>
      </dsp:nvSpPr>
      <dsp:spPr>
        <a:xfrm>
          <a:off x="1173198" y="4265753"/>
          <a:ext cx="4212801" cy="1053200"/>
        </a:xfrm>
        <a:prstGeom prst="roundRect">
          <a:avLst>
            <a:gd name="adj" fmla="val 10000"/>
          </a:avLst>
        </a:prstGeom>
        <a:solidFill>
          <a:schemeClr val="accent2">
            <a:tint val="40000"/>
            <a:alpha val="90000"/>
            <a:hueOff val="-1395407"/>
            <a:satOff val="3731"/>
            <a:lumOff val="462"/>
            <a:alphaOff val="0"/>
          </a:schemeClr>
        </a:solidFill>
        <a:ln w="12700" cap="flat" cmpd="sng" algn="ctr">
          <a:solidFill>
            <a:schemeClr val="accent2">
              <a:tint val="40000"/>
              <a:alpha val="90000"/>
              <a:hueOff val="-1395407"/>
              <a:satOff val="3731"/>
              <a:lumOff val="4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Waits and Queues</a:t>
          </a:r>
        </a:p>
      </dsp:txBody>
      <dsp:txXfrm>
        <a:off x="1204045" y="4296600"/>
        <a:ext cx="4151107" cy="991506"/>
      </dsp:txXfrm>
    </dsp:sp>
    <dsp:sp modelId="{D75D3820-4C12-464F-B8C4-4FA2734626F7}">
      <dsp:nvSpPr>
        <dsp:cNvPr id="0" name=""/>
        <dsp:cNvSpPr/>
      </dsp:nvSpPr>
      <dsp:spPr>
        <a:xfrm>
          <a:off x="5975792" y="292"/>
          <a:ext cx="4212801" cy="1053200"/>
        </a:xfrm>
        <a:prstGeom prst="roundRect">
          <a:avLst>
            <a:gd name="adj" fmla="val 10000"/>
          </a:avLst>
        </a:prstGeom>
        <a:solidFill>
          <a:schemeClr val="accent2">
            <a:hueOff val="-2667497"/>
            <a:satOff val="55382"/>
            <a:lumOff val="58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2: SQL Server I/O and Database Structure</a:t>
          </a:r>
        </a:p>
      </dsp:txBody>
      <dsp:txXfrm>
        <a:off x="6006639" y="31139"/>
        <a:ext cx="4151107" cy="991506"/>
      </dsp:txXfrm>
    </dsp:sp>
    <dsp:sp modelId="{F55D71A7-63B1-4EA9-9210-FAE709F13551}">
      <dsp:nvSpPr>
        <dsp:cNvPr id="0" name=""/>
        <dsp:cNvSpPr/>
      </dsp:nvSpPr>
      <dsp:spPr>
        <a:xfrm rot="5400000">
          <a:off x="7990037" y="1145647"/>
          <a:ext cx="184310" cy="184310"/>
        </a:xfrm>
        <a:prstGeom prst="rightArrow">
          <a:avLst>
            <a:gd name="adj1" fmla="val 66700"/>
            <a:gd name="adj2" fmla="val 50000"/>
          </a:avLst>
        </a:prstGeom>
        <a:solidFill>
          <a:schemeClr val="accent2">
            <a:hueOff val="-1600498"/>
            <a:satOff val="33229"/>
            <a:lumOff val="353"/>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686FFF93-8549-464D-B9A1-F8B06F449DB3}">
      <dsp:nvSpPr>
        <dsp:cNvPr id="0" name=""/>
        <dsp:cNvSpPr/>
      </dsp:nvSpPr>
      <dsp:spPr>
        <a:xfrm>
          <a:off x="5975792" y="1422112"/>
          <a:ext cx="4212801" cy="1053200"/>
        </a:xfrm>
        <a:prstGeom prst="roundRect">
          <a:avLst>
            <a:gd name="adj" fmla="val 10000"/>
          </a:avLst>
        </a:prstGeom>
        <a:solidFill>
          <a:schemeClr val="accent2">
            <a:tint val="40000"/>
            <a:alpha val="90000"/>
            <a:hueOff val="-2093110"/>
            <a:satOff val="5596"/>
            <a:lumOff val="692"/>
            <a:alphaOff val="0"/>
          </a:schemeClr>
        </a:solidFill>
        <a:ln w="12700" cap="flat" cmpd="sng" algn="ctr">
          <a:solidFill>
            <a:schemeClr val="accent2">
              <a:tint val="40000"/>
              <a:alpha val="90000"/>
              <a:hueOff val="-2093110"/>
              <a:satOff val="5596"/>
              <a:lumOff val="6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Disk I/O</a:t>
          </a:r>
        </a:p>
      </dsp:txBody>
      <dsp:txXfrm>
        <a:off x="6006639" y="1452959"/>
        <a:ext cx="4151107" cy="991506"/>
      </dsp:txXfrm>
    </dsp:sp>
    <dsp:sp modelId="{E5FBEDB6-47FE-4382-9841-38FBC7A316FB}">
      <dsp:nvSpPr>
        <dsp:cNvPr id="0" name=""/>
        <dsp:cNvSpPr/>
      </dsp:nvSpPr>
      <dsp:spPr>
        <a:xfrm rot="5400000">
          <a:off x="7990037" y="2567467"/>
          <a:ext cx="184310" cy="184310"/>
        </a:xfrm>
        <a:prstGeom prst="rightArrow">
          <a:avLst>
            <a:gd name="adj1" fmla="val 66700"/>
            <a:gd name="adj2" fmla="val 50000"/>
          </a:avLst>
        </a:prstGeom>
        <a:solidFill>
          <a:schemeClr val="accent2">
            <a:hueOff val="-2133998"/>
            <a:satOff val="44306"/>
            <a:lumOff val="47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D3C2D906-4E8A-4530-87DE-5E53505D74E5}">
      <dsp:nvSpPr>
        <dsp:cNvPr id="0" name=""/>
        <dsp:cNvSpPr/>
      </dsp:nvSpPr>
      <dsp:spPr>
        <a:xfrm>
          <a:off x="5975792" y="2843933"/>
          <a:ext cx="4212801" cy="1053200"/>
        </a:xfrm>
        <a:prstGeom prst="roundRect">
          <a:avLst>
            <a:gd name="adj" fmla="val 10000"/>
          </a:avLst>
        </a:prstGeom>
        <a:solidFill>
          <a:schemeClr val="accent2">
            <a:tint val="40000"/>
            <a:alpha val="90000"/>
            <a:hueOff val="-2790814"/>
            <a:satOff val="7462"/>
            <a:lumOff val="923"/>
            <a:alphaOff val="0"/>
          </a:schemeClr>
        </a:solidFill>
        <a:ln w="12700" cap="flat" cmpd="sng" algn="ctr">
          <a:solidFill>
            <a:schemeClr val="accent2">
              <a:tint val="40000"/>
              <a:alpha val="90000"/>
              <a:hueOff val="-2790814"/>
              <a:satOff val="7462"/>
              <a:lumOff val="9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Page Structure</a:t>
          </a:r>
        </a:p>
      </dsp:txBody>
      <dsp:txXfrm>
        <a:off x="6006639" y="2874780"/>
        <a:ext cx="4151107" cy="991506"/>
      </dsp:txXfrm>
    </dsp:sp>
    <dsp:sp modelId="{D9CCF50A-6EED-468E-BFBF-C43E15E7A0F9}">
      <dsp:nvSpPr>
        <dsp:cNvPr id="0" name=""/>
        <dsp:cNvSpPr/>
      </dsp:nvSpPr>
      <dsp:spPr>
        <a:xfrm rot="5400000">
          <a:off x="7990037" y="3989288"/>
          <a:ext cx="184310" cy="184310"/>
        </a:xfrm>
        <a:prstGeom prst="rightArrow">
          <a:avLst>
            <a:gd name="adj1" fmla="val 66700"/>
            <a:gd name="adj2" fmla="val 50000"/>
          </a:avLst>
        </a:prstGeom>
        <a:solidFill>
          <a:schemeClr val="accent2">
            <a:hueOff val="-2667497"/>
            <a:satOff val="55382"/>
            <a:lumOff val="588"/>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FD73CE53-0F6C-43F8-92D7-7DC5EE715D39}">
      <dsp:nvSpPr>
        <dsp:cNvPr id="0" name=""/>
        <dsp:cNvSpPr/>
      </dsp:nvSpPr>
      <dsp:spPr>
        <a:xfrm>
          <a:off x="5975792" y="4265753"/>
          <a:ext cx="4212801" cy="1053200"/>
        </a:xfrm>
        <a:prstGeom prst="roundRect">
          <a:avLst>
            <a:gd name="adj" fmla="val 10000"/>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Data File Structure</a:t>
          </a:r>
        </a:p>
      </dsp:txBody>
      <dsp:txXfrm>
        <a:off x="6006639" y="4296600"/>
        <a:ext cx="4151107" cy="9915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589238-B07C-4484-9F16-7E69EEF9134B}">
      <dsp:nvSpPr>
        <dsp:cNvPr id="0" name=""/>
        <dsp:cNvSpPr/>
      </dsp:nvSpPr>
      <dsp:spPr>
        <a:xfrm>
          <a:off x="7172" y="475758"/>
          <a:ext cx="3459587" cy="86489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2: SQL Server I/O and Database Structure</a:t>
          </a:r>
        </a:p>
      </dsp:txBody>
      <dsp:txXfrm>
        <a:off x="32504" y="501090"/>
        <a:ext cx="3408923" cy="814232"/>
      </dsp:txXfrm>
    </dsp:sp>
    <dsp:sp modelId="{09B34A7B-8E8E-405F-A696-CB3481C1770F}">
      <dsp:nvSpPr>
        <dsp:cNvPr id="0" name=""/>
        <dsp:cNvSpPr/>
      </dsp:nvSpPr>
      <dsp:spPr>
        <a:xfrm rot="5400000">
          <a:off x="1661287" y="1416333"/>
          <a:ext cx="151356" cy="151356"/>
        </a:xfrm>
        <a:prstGeom prst="rightArrow">
          <a:avLst>
            <a:gd name="adj1" fmla="val 667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F02414D-6762-4411-AF94-7D6AE579AC2E}">
      <dsp:nvSpPr>
        <dsp:cNvPr id="0" name=""/>
        <dsp:cNvSpPr/>
      </dsp:nvSpPr>
      <dsp:spPr>
        <a:xfrm>
          <a:off x="7172" y="1643369"/>
          <a:ext cx="3459587" cy="864896"/>
        </a:xfrm>
        <a:prstGeom prst="roundRect">
          <a:avLst>
            <a:gd name="adj" fmla="val 1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fr-FR" sz="2000" kern="1200" dirty="0"/>
            <a:t>Log File Structure</a:t>
          </a:r>
          <a:endParaRPr lang="en-US" sz="2000" kern="1200" dirty="0"/>
        </a:p>
      </dsp:txBody>
      <dsp:txXfrm>
        <a:off x="32504" y="1668701"/>
        <a:ext cx="3408923" cy="814232"/>
      </dsp:txXfrm>
    </dsp:sp>
    <dsp:sp modelId="{78220742-9879-4724-A685-E958ACA7C0BB}">
      <dsp:nvSpPr>
        <dsp:cNvPr id="0" name=""/>
        <dsp:cNvSpPr/>
      </dsp:nvSpPr>
      <dsp:spPr>
        <a:xfrm rot="5400000">
          <a:off x="1661287" y="2583944"/>
          <a:ext cx="151356" cy="151356"/>
        </a:xfrm>
        <a:prstGeom prst="rightArrow">
          <a:avLst>
            <a:gd name="adj1" fmla="val 66700"/>
            <a:gd name="adj2" fmla="val 50000"/>
          </a:avLst>
        </a:prstGeom>
        <a:solidFill>
          <a:schemeClr val="accent3">
            <a:hueOff val="336312"/>
            <a:satOff val="0"/>
            <a:lumOff val="166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9E5FEA0-4646-452D-A099-71776A1B76EF}">
      <dsp:nvSpPr>
        <dsp:cNvPr id="0" name=""/>
        <dsp:cNvSpPr/>
      </dsp:nvSpPr>
      <dsp:spPr>
        <a:xfrm>
          <a:off x="7172" y="2810979"/>
          <a:ext cx="3459587" cy="864896"/>
        </a:xfrm>
        <a:prstGeom prst="roundRect">
          <a:avLst>
            <a:gd name="adj" fmla="val 10000"/>
          </a:avLst>
        </a:prstGeom>
        <a:solidFill>
          <a:schemeClr val="accent3">
            <a:tint val="40000"/>
            <a:alpha val="90000"/>
            <a:hueOff val="560441"/>
            <a:satOff val="3276"/>
            <a:lumOff val="427"/>
            <a:alphaOff val="0"/>
          </a:schemeClr>
        </a:solidFill>
        <a:ln w="12700" cap="flat" cmpd="sng" algn="ctr">
          <a:solidFill>
            <a:schemeClr val="accent3">
              <a:tint val="40000"/>
              <a:alpha val="90000"/>
              <a:hueOff val="560441"/>
              <a:satOff val="3276"/>
              <a:lumOff val="42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TempDB File Structure</a:t>
          </a:r>
        </a:p>
      </dsp:txBody>
      <dsp:txXfrm>
        <a:off x="32504" y="2836311"/>
        <a:ext cx="3408923" cy="814232"/>
      </dsp:txXfrm>
    </dsp:sp>
    <dsp:sp modelId="{8115B093-6973-4960-9189-F4160E758B5E}">
      <dsp:nvSpPr>
        <dsp:cNvPr id="0" name=""/>
        <dsp:cNvSpPr/>
      </dsp:nvSpPr>
      <dsp:spPr>
        <a:xfrm>
          <a:off x="3951102" y="475758"/>
          <a:ext cx="3459587" cy="864896"/>
        </a:xfrm>
        <a:prstGeom prst="roundRect">
          <a:avLst>
            <a:gd name="adj" fmla="val 10000"/>
          </a:avLst>
        </a:prstGeom>
        <a:solidFill>
          <a:schemeClr val="accent3">
            <a:hueOff val="1008935"/>
            <a:satOff val="0"/>
            <a:lumOff val="5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3: SQL Server Memory</a:t>
          </a:r>
        </a:p>
      </dsp:txBody>
      <dsp:txXfrm>
        <a:off x="3976434" y="501090"/>
        <a:ext cx="3408923" cy="814232"/>
      </dsp:txXfrm>
    </dsp:sp>
    <dsp:sp modelId="{73CCE419-EF22-456C-AE72-A2411F95BBC4}">
      <dsp:nvSpPr>
        <dsp:cNvPr id="0" name=""/>
        <dsp:cNvSpPr/>
      </dsp:nvSpPr>
      <dsp:spPr>
        <a:xfrm rot="5400000">
          <a:off x="5605217" y="1416333"/>
          <a:ext cx="151356" cy="151356"/>
        </a:xfrm>
        <a:prstGeom prst="rightArrow">
          <a:avLst>
            <a:gd name="adj1" fmla="val 66700"/>
            <a:gd name="adj2" fmla="val 50000"/>
          </a:avLst>
        </a:prstGeom>
        <a:solidFill>
          <a:schemeClr val="accent3">
            <a:hueOff val="672623"/>
            <a:satOff val="0"/>
            <a:lumOff val="333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74AEEEA-7DDE-43DD-83BB-9DD67CCB3BEF}">
      <dsp:nvSpPr>
        <dsp:cNvPr id="0" name=""/>
        <dsp:cNvSpPr/>
      </dsp:nvSpPr>
      <dsp:spPr>
        <a:xfrm>
          <a:off x="3951102" y="1643369"/>
          <a:ext cx="3459587" cy="864896"/>
        </a:xfrm>
        <a:prstGeom prst="roundRect">
          <a:avLst>
            <a:gd name="adj" fmla="val 10000"/>
          </a:avLst>
        </a:prstGeom>
        <a:solidFill>
          <a:schemeClr val="accent3">
            <a:tint val="40000"/>
            <a:alpha val="90000"/>
            <a:hueOff val="1120883"/>
            <a:satOff val="6552"/>
            <a:lumOff val="854"/>
            <a:alphaOff val="0"/>
          </a:schemeClr>
        </a:solidFill>
        <a:ln w="12700" cap="flat" cmpd="sng" algn="ctr">
          <a:solidFill>
            <a:schemeClr val="accent3">
              <a:tint val="40000"/>
              <a:alpha val="90000"/>
              <a:hueOff val="1120883"/>
              <a:satOff val="6552"/>
              <a:lumOff val="8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Windows Memory Management</a:t>
          </a:r>
        </a:p>
      </dsp:txBody>
      <dsp:txXfrm>
        <a:off x="3976434" y="1668701"/>
        <a:ext cx="3408923" cy="814232"/>
      </dsp:txXfrm>
    </dsp:sp>
    <dsp:sp modelId="{493404C1-5734-4FB5-9856-BC9B40E7CD3A}">
      <dsp:nvSpPr>
        <dsp:cNvPr id="0" name=""/>
        <dsp:cNvSpPr/>
      </dsp:nvSpPr>
      <dsp:spPr>
        <a:xfrm rot="5400000">
          <a:off x="5605217" y="2583944"/>
          <a:ext cx="151356" cy="151356"/>
        </a:xfrm>
        <a:prstGeom prst="rightArrow">
          <a:avLst>
            <a:gd name="adj1" fmla="val 66700"/>
            <a:gd name="adj2" fmla="val 50000"/>
          </a:avLst>
        </a:prstGeom>
        <a:solidFill>
          <a:schemeClr val="accent3">
            <a:hueOff val="1008935"/>
            <a:satOff val="0"/>
            <a:lumOff val="5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41E97DE-F221-40ED-B452-E3A0F5A65BD3}">
      <dsp:nvSpPr>
        <dsp:cNvPr id="0" name=""/>
        <dsp:cNvSpPr/>
      </dsp:nvSpPr>
      <dsp:spPr>
        <a:xfrm>
          <a:off x="3951102" y="2810979"/>
          <a:ext cx="3459587" cy="864896"/>
        </a:xfrm>
        <a:prstGeom prst="roundRect">
          <a:avLst>
            <a:gd name="adj" fmla="val 10000"/>
          </a:avLst>
        </a:prstGeom>
        <a:solidFill>
          <a:schemeClr val="accent3">
            <a:tint val="40000"/>
            <a:alpha val="90000"/>
            <a:hueOff val="1681324"/>
            <a:satOff val="9829"/>
            <a:lumOff val="1281"/>
            <a:alphaOff val="0"/>
          </a:schemeClr>
        </a:solidFill>
        <a:ln w="12700" cap="flat" cmpd="sng" algn="ctr">
          <a:solidFill>
            <a:schemeClr val="accent3">
              <a:tint val="40000"/>
              <a:alpha val="90000"/>
              <a:hueOff val="1681324"/>
              <a:satOff val="9829"/>
              <a:lumOff val="128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Memory Management</a:t>
          </a:r>
        </a:p>
      </dsp:txBody>
      <dsp:txXfrm>
        <a:off x="3976434" y="2836311"/>
        <a:ext cx="3408923" cy="814232"/>
      </dsp:txXfrm>
    </dsp:sp>
    <dsp:sp modelId="{50581BFA-EBB1-417B-BB61-A389385DCD61}">
      <dsp:nvSpPr>
        <dsp:cNvPr id="0" name=""/>
        <dsp:cNvSpPr/>
      </dsp:nvSpPr>
      <dsp:spPr>
        <a:xfrm rot="5400000">
          <a:off x="5605217" y="3751555"/>
          <a:ext cx="151356" cy="151356"/>
        </a:xfrm>
        <a:prstGeom prst="rightArrow">
          <a:avLst>
            <a:gd name="adj1" fmla="val 66700"/>
            <a:gd name="adj2" fmla="val 50000"/>
          </a:avLst>
        </a:prstGeom>
        <a:solidFill>
          <a:schemeClr val="accent3">
            <a:hueOff val="1345247"/>
            <a:satOff val="0"/>
            <a:lumOff val="666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41444C1-8907-454E-BFA9-9EF2A998E5ED}">
      <dsp:nvSpPr>
        <dsp:cNvPr id="0" name=""/>
        <dsp:cNvSpPr/>
      </dsp:nvSpPr>
      <dsp:spPr>
        <a:xfrm>
          <a:off x="3951102" y="3978590"/>
          <a:ext cx="3459587" cy="864896"/>
        </a:xfrm>
        <a:prstGeom prst="roundRect">
          <a:avLst>
            <a:gd name="adj" fmla="val 10000"/>
          </a:avLst>
        </a:prstGeom>
        <a:solidFill>
          <a:schemeClr val="accent3">
            <a:tint val="40000"/>
            <a:alpha val="90000"/>
            <a:hueOff val="2241766"/>
            <a:satOff val="13105"/>
            <a:lumOff val="1708"/>
            <a:alphaOff val="0"/>
          </a:schemeClr>
        </a:solidFill>
        <a:ln w="12700" cap="flat" cmpd="sng" algn="ctr">
          <a:solidFill>
            <a:schemeClr val="accent3">
              <a:tint val="40000"/>
              <a:alpha val="90000"/>
              <a:hueOff val="2241766"/>
              <a:satOff val="13105"/>
              <a:lumOff val="17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Troubleshooting SQL Server Memory</a:t>
          </a:r>
        </a:p>
      </dsp:txBody>
      <dsp:txXfrm>
        <a:off x="3976434" y="4003922"/>
        <a:ext cx="3408923" cy="814232"/>
      </dsp:txXfrm>
    </dsp:sp>
    <dsp:sp modelId="{1AE482F8-6E05-453E-8A34-D692ECC99589}">
      <dsp:nvSpPr>
        <dsp:cNvPr id="0" name=""/>
        <dsp:cNvSpPr/>
      </dsp:nvSpPr>
      <dsp:spPr>
        <a:xfrm>
          <a:off x="7895032" y="475758"/>
          <a:ext cx="3459587" cy="864896"/>
        </a:xfrm>
        <a:prstGeom prst="roundRect">
          <a:avLst>
            <a:gd name="adj" fmla="val 10000"/>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4: SQL Server Concurrency and Transactions</a:t>
          </a:r>
        </a:p>
      </dsp:txBody>
      <dsp:txXfrm>
        <a:off x="7920364" y="501090"/>
        <a:ext cx="3408923" cy="814232"/>
      </dsp:txXfrm>
    </dsp:sp>
    <dsp:sp modelId="{217EDA0E-4729-47B3-8156-66D175A0FE16}">
      <dsp:nvSpPr>
        <dsp:cNvPr id="0" name=""/>
        <dsp:cNvSpPr/>
      </dsp:nvSpPr>
      <dsp:spPr>
        <a:xfrm rot="5400000">
          <a:off x="9549147" y="1416333"/>
          <a:ext cx="151356" cy="151356"/>
        </a:xfrm>
        <a:prstGeom prst="rightArrow">
          <a:avLst>
            <a:gd name="adj1" fmla="val 66700"/>
            <a:gd name="adj2" fmla="val 50000"/>
          </a:avLst>
        </a:prstGeom>
        <a:solidFill>
          <a:schemeClr val="accent3">
            <a:hueOff val="1681558"/>
            <a:satOff val="0"/>
            <a:lumOff val="833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D10722C-077A-43D2-8B37-E38CAFCB0F53}">
      <dsp:nvSpPr>
        <dsp:cNvPr id="0" name=""/>
        <dsp:cNvSpPr/>
      </dsp:nvSpPr>
      <dsp:spPr>
        <a:xfrm>
          <a:off x="7895032" y="1643369"/>
          <a:ext cx="3459587" cy="864896"/>
        </a:xfrm>
        <a:prstGeom prst="roundRect">
          <a:avLst>
            <a:gd name="adj" fmla="val 10000"/>
          </a:avLst>
        </a:prstGeom>
        <a:solidFill>
          <a:schemeClr val="accent3">
            <a:tint val="40000"/>
            <a:alpha val="90000"/>
            <a:hueOff val="2802207"/>
            <a:satOff val="16381"/>
            <a:lumOff val="2135"/>
            <a:alphaOff val="0"/>
          </a:schemeClr>
        </a:solidFill>
        <a:ln w="12700" cap="flat" cmpd="sng" algn="ctr">
          <a:solidFill>
            <a:schemeClr val="accent3">
              <a:tint val="40000"/>
              <a:alpha val="90000"/>
              <a:hueOff val="2802207"/>
              <a:satOff val="16381"/>
              <a:lumOff val="213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Transactions</a:t>
          </a:r>
        </a:p>
      </dsp:txBody>
      <dsp:txXfrm>
        <a:off x="7920364" y="1668701"/>
        <a:ext cx="3408923" cy="814232"/>
      </dsp:txXfrm>
    </dsp:sp>
    <dsp:sp modelId="{B4C7C0A9-0FC7-43D3-9F18-19E92C3CBFFB}">
      <dsp:nvSpPr>
        <dsp:cNvPr id="0" name=""/>
        <dsp:cNvSpPr/>
      </dsp:nvSpPr>
      <dsp:spPr>
        <a:xfrm rot="5400000">
          <a:off x="9549147" y="2583944"/>
          <a:ext cx="151356" cy="151356"/>
        </a:xfrm>
        <a:prstGeom prst="rightArrow">
          <a:avLst>
            <a:gd name="adj1" fmla="val 66700"/>
            <a:gd name="adj2" fmla="val 50000"/>
          </a:avLst>
        </a:prstGeom>
        <a:solidFill>
          <a:schemeClr val="accent3">
            <a:hueOff val="2017870"/>
            <a:satOff val="0"/>
            <a:lumOff val="10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DFF5457-ABC4-4014-AD47-3F36F67E6A0C}">
      <dsp:nvSpPr>
        <dsp:cNvPr id="0" name=""/>
        <dsp:cNvSpPr/>
      </dsp:nvSpPr>
      <dsp:spPr>
        <a:xfrm>
          <a:off x="7895032" y="2810979"/>
          <a:ext cx="3459587" cy="864896"/>
        </a:xfrm>
        <a:prstGeom prst="roundRect">
          <a:avLst>
            <a:gd name="adj" fmla="val 10000"/>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Transaction Isolation Levels</a:t>
          </a:r>
        </a:p>
      </dsp:txBody>
      <dsp:txXfrm>
        <a:off x="7920364" y="2836311"/>
        <a:ext cx="3408923" cy="81423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6B6B84-9C17-4CF6-9704-040B25E3BCB8}">
      <dsp:nvSpPr>
        <dsp:cNvPr id="0" name=""/>
        <dsp:cNvSpPr/>
      </dsp:nvSpPr>
      <dsp:spPr>
        <a:xfrm>
          <a:off x="1173198" y="292"/>
          <a:ext cx="4212801" cy="105320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Module 4: SQL Server Concurrency and Transactions</a:t>
          </a:r>
        </a:p>
      </dsp:txBody>
      <dsp:txXfrm>
        <a:off x="1204045" y="31139"/>
        <a:ext cx="4151107" cy="991506"/>
      </dsp:txXfrm>
    </dsp:sp>
    <dsp:sp modelId="{EB5245F3-1E29-4FE7-86D8-302E7E048A0A}">
      <dsp:nvSpPr>
        <dsp:cNvPr id="0" name=""/>
        <dsp:cNvSpPr/>
      </dsp:nvSpPr>
      <dsp:spPr>
        <a:xfrm rot="5400000">
          <a:off x="3187444" y="1145647"/>
          <a:ext cx="184310" cy="184310"/>
        </a:xfrm>
        <a:prstGeom prst="rightArrow">
          <a:avLst>
            <a:gd name="adj1" fmla="val 667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508127A-B0DF-493E-8187-536ABE85E212}">
      <dsp:nvSpPr>
        <dsp:cNvPr id="0" name=""/>
        <dsp:cNvSpPr/>
      </dsp:nvSpPr>
      <dsp:spPr>
        <a:xfrm>
          <a:off x="1173198" y="1422112"/>
          <a:ext cx="4212801" cy="1053200"/>
        </a:xfrm>
        <a:prstGeom prst="roundRect">
          <a:avLst>
            <a:gd name="adj" fmla="val 1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SQL Server Locking</a:t>
          </a:r>
        </a:p>
      </dsp:txBody>
      <dsp:txXfrm>
        <a:off x="1204045" y="1452959"/>
        <a:ext cx="4151107" cy="991506"/>
      </dsp:txXfrm>
    </dsp:sp>
    <dsp:sp modelId="{84F7972F-F7C0-4B34-8EA3-D65465B9C73E}">
      <dsp:nvSpPr>
        <dsp:cNvPr id="0" name=""/>
        <dsp:cNvSpPr/>
      </dsp:nvSpPr>
      <dsp:spPr>
        <a:xfrm rot="5400000">
          <a:off x="3187444" y="2567467"/>
          <a:ext cx="184310" cy="184310"/>
        </a:xfrm>
        <a:prstGeom prst="rightArrow">
          <a:avLst>
            <a:gd name="adj1" fmla="val 66700"/>
            <a:gd name="adj2" fmla="val 50000"/>
          </a:avLst>
        </a:prstGeom>
        <a:solidFill>
          <a:schemeClr val="accent3">
            <a:hueOff val="504467"/>
            <a:satOff val="0"/>
            <a:lumOff val="25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19A7547-4616-43EA-9B5E-F5C5D5563DDF}">
      <dsp:nvSpPr>
        <dsp:cNvPr id="0" name=""/>
        <dsp:cNvSpPr/>
      </dsp:nvSpPr>
      <dsp:spPr>
        <a:xfrm>
          <a:off x="1173198" y="2843933"/>
          <a:ext cx="4212801" cy="1053200"/>
        </a:xfrm>
        <a:prstGeom prst="roundRect">
          <a:avLst>
            <a:gd name="adj" fmla="val 10000"/>
          </a:avLst>
        </a:prstGeom>
        <a:solidFill>
          <a:schemeClr val="accent3">
            <a:tint val="40000"/>
            <a:alpha val="90000"/>
            <a:hueOff val="840662"/>
            <a:satOff val="4914"/>
            <a:lumOff val="641"/>
            <a:alphaOff val="0"/>
          </a:schemeClr>
        </a:solidFill>
        <a:ln w="12700" cap="flat" cmpd="sng" algn="ctr">
          <a:solidFill>
            <a:schemeClr val="accent3">
              <a:tint val="40000"/>
              <a:alpha val="90000"/>
              <a:hueOff val="840662"/>
              <a:satOff val="4914"/>
              <a:lumOff val="6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Blocking and Deadlocking</a:t>
          </a:r>
        </a:p>
      </dsp:txBody>
      <dsp:txXfrm>
        <a:off x="1204045" y="2874780"/>
        <a:ext cx="4151107" cy="991506"/>
      </dsp:txXfrm>
    </dsp:sp>
    <dsp:sp modelId="{F2340A44-7140-479E-84B5-E33CFCFDB9FC}">
      <dsp:nvSpPr>
        <dsp:cNvPr id="0" name=""/>
        <dsp:cNvSpPr/>
      </dsp:nvSpPr>
      <dsp:spPr>
        <a:xfrm>
          <a:off x="5975792" y="292"/>
          <a:ext cx="4212801" cy="1053200"/>
        </a:xfrm>
        <a:prstGeom prst="roundRect">
          <a:avLst>
            <a:gd name="adj" fmla="val 10000"/>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Module 5: SQL Server Index Structure</a:t>
          </a:r>
        </a:p>
      </dsp:txBody>
      <dsp:txXfrm>
        <a:off x="6006639" y="31139"/>
        <a:ext cx="4151107" cy="991506"/>
      </dsp:txXfrm>
    </dsp:sp>
    <dsp:sp modelId="{71FC2BA3-BE5F-4E02-BF47-D8E06BDCADDB}">
      <dsp:nvSpPr>
        <dsp:cNvPr id="0" name=""/>
        <dsp:cNvSpPr/>
      </dsp:nvSpPr>
      <dsp:spPr>
        <a:xfrm rot="5400000">
          <a:off x="7990037" y="1145647"/>
          <a:ext cx="184310" cy="184310"/>
        </a:xfrm>
        <a:prstGeom prst="rightArrow">
          <a:avLst>
            <a:gd name="adj1" fmla="val 66700"/>
            <a:gd name="adj2" fmla="val 50000"/>
          </a:avLst>
        </a:prstGeom>
        <a:solidFill>
          <a:schemeClr val="accent3">
            <a:hueOff val="1008935"/>
            <a:satOff val="0"/>
            <a:lumOff val="5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5E1BF72-7835-4544-9067-1BC6DB55F725}">
      <dsp:nvSpPr>
        <dsp:cNvPr id="0" name=""/>
        <dsp:cNvSpPr/>
      </dsp:nvSpPr>
      <dsp:spPr>
        <a:xfrm>
          <a:off x="5975792" y="1422112"/>
          <a:ext cx="4212801" cy="1053200"/>
        </a:xfrm>
        <a:prstGeom prst="roundRect">
          <a:avLst>
            <a:gd name="adj" fmla="val 10000"/>
          </a:avLst>
        </a:prstGeom>
        <a:solidFill>
          <a:schemeClr val="accent3">
            <a:tint val="40000"/>
            <a:alpha val="90000"/>
            <a:hueOff val="1681324"/>
            <a:satOff val="9829"/>
            <a:lumOff val="1281"/>
            <a:alphaOff val="0"/>
          </a:schemeClr>
        </a:solidFill>
        <a:ln w="12700" cap="flat" cmpd="sng" algn="ctr">
          <a:solidFill>
            <a:schemeClr val="accent3">
              <a:tint val="40000"/>
              <a:alpha val="90000"/>
              <a:hueOff val="1681324"/>
              <a:satOff val="9829"/>
              <a:lumOff val="128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SQL Server Index Internals &amp; Indexing Strategies</a:t>
          </a:r>
        </a:p>
      </dsp:txBody>
      <dsp:txXfrm>
        <a:off x="6006639" y="1452959"/>
        <a:ext cx="4151107" cy="991506"/>
      </dsp:txXfrm>
    </dsp:sp>
    <dsp:sp modelId="{6436E580-6CA7-4CED-BA6F-63642060C5CA}">
      <dsp:nvSpPr>
        <dsp:cNvPr id="0" name=""/>
        <dsp:cNvSpPr/>
      </dsp:nvSpPr>
      <dsp:spPr>
        <a:xfrm rot="5400000">
          <a:off x="7990037" y="2567467"/>
          <a:ext cx="184310" cy="184310"/>
        </a:xfrm>
        <a:prstGeom prst="rightArrow">
          <a:avLst>
            <a:gd name="adj1" fmla="val 66700"/>
            <a:gd name="adj2" fmla="val 50000"/>
          </a:avLst>
        </a:prstGeom>
        <a:solidFill>
          <a:schemeClr val="accent3">
            <a:hueOff val="1513402"/>
            <a:satOff val="0"/>
            <a:lumOff val="75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348DA9E-2B34-4DC6-906C-BB27E77097AC}">
      <dsp:nvSpPr>
        <dsp:cNvPr id="0" name=""/>
        <dsp:cNvSpPr/>
      </dsp:nvSpPr>
      <dsp:spPr>
        <a:xfrm>
          <a:off x="5975792" y="2843933"/>
          <a:ext cx="4212801" cy="1053200"/>
        </a:xfrm>
        <a:prstGeom prst="roundRect">
          <a:avLst>
            <a:gd name="adj" fmla="val 10000"/>
          </a:avLst>
        </a:prstGeom>
        <a:solidFill>
          <a:schemeClr val="accent3">
            <a:tint val="40000"/>
            <a:alpha val="90000"/>
            <a:hueOff val="2521986"/>
            <a:satOff val="14743"/>
            <a:lumOff val="1922"/>
            <a:alphaOff val="0"/>
          </a:schemeClr>
        </a:solidFill>
        <a:ln w="12700" cap="flat" cmpd="sng" algn="ctr">
          <a:solidFill>
            <a:schemeClr val="accent3">
              <a:tint val="40000"/>
              <a:alpha val="90000"/>
              <a:hueOff val="2521986"/>
              <a:satOff val="14743"/>
              <a:lumOff val="192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SQL Server Partitioned Tables and Indexes</a:t>
          </a:r>
        </a:p>
      </dsp:txBody>
      <dsp:txXfrm>
        <a:off x="6006639" y="2874780"/>
        <a:ext cx="4151107" cy="991506"/>
      </dsp:txXfrm>
    </dsp:sp>
    <dsp:sp modelId="{7A7C894C-E4CD-4071-B2B3-4759C6358249}">
      <dsp:nvSpPr>
        <dsp:cNvPr id="0" name=""/>
        <dsp:cNvSpPr/>
      </dsp:nvSpPr>
      <dsp:spPr>
        <a:xfrm rot="5400000">
          <a:off x="7990037" y="3989288"/>
          <a:ext cx="184310" cy="184310"/>
        </a:xfrm>
        <a:prstGeom prst="rightArrow">
          <a:avLst>
            <a:gd name="adj1" fmla="val 66700"/>
            <a:gd name="adj2" fmla="val 50000"/>
          </a:avLst>
        </a:prstGeom>
        <a:solidFill>
          <a:schemeClr val="accent3">
            <a:hueOff val="2017870"/>
            <a:satOff val="0"/>
            <a:lumOff val="10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FC51080-D634-4A57-9B84-DB04CE8BF742}">
      <dsp:nvSpPr>
        <dsp:cNvPr id="0" name=""/>
        <dsp:cNvSpPr/>
      </dsp:nvSpPr>
      <dsp:spPr>
        <a:xfrm>
          <a:off x="5975792" y="4265753"/>
          <a:ext cx="4212801" cy="1053200"/>
        </a:xfrm>
        <a:prstGeom prst="roundRect">
          <a:avLst>
            <a:gd name="adj" fmla="val 10000"/>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SQL Server Index Monitoring and Fragmentation</a:t>
          </a:r>
        </a:p>
      </dsp:txBody>
      <dsp:txXfrm>
        <a:off x="6006639" y="4296600"/>
        <a:ext cx="4151107" cy="99150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D7BB7B-B799-49AF-AA47-406D106BD1B6}">
      <dsp:nvSpPr>
        <dsp:cNvPr id="0" name=""/>
        <dsp:cNvSpPr/>
      </dsp:nvSpPr>
      <dsp:spPr>
        <a:xfrm>
          <a:off x="5877" y="276710"/>
          <a:ext cx="3460377" cy="1511155"/>
        </a:xfrm>
        <a:prstGeom prst="roundRect">
          <a:avLst>
            <a:gd name="adj" fmla="val 10000"/>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6: SQL Server Statistics Structure</a:t>
          </a:r>
        </a:p>
      </dsp:txBody>
      <dsp:txXfrm>
        <a:off x="50137" y="320970"/>
        <a:ext cx="3371857" cy="1422635"/>
      </dsp:txXfrm>
    </dsp:sp>
    <dsp:sp modelId="{74201C77-1645-40D1-A5C0-1ADE121B18DC}">
      <dsp:nvSpPr>
        <dsp:cNvPr id="0" name=""/>
        <dsp:cNvSpPr/>
      </dsp:nvSpPr>
      <dsp:spPr>
        <a:xfrm rot="5400000">
          <a:off x="1660370" y="1863562"/>
          <a:ext cx="151391" cy="151391"/>
        </a:xfrm>
        <a:prstGeom prst="rightArrow">
          <a:avLst>
            <a:gd name="adj1" fmla="val 667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D8A5EBF3-4B03-4100-AF7A-BE76AA8A956C}">
      <dsp:nvSpPr>
        <dsp:cNvPr id="0" name=""/>
        <dsp:cNvSpPr/>
      </dsp:nvSpPr>
      <dsp:spPr>
        <a:xfrm>
          <a:off x="5877" y="2090649"/>
          <a:ext cx="3460377" cy="865094"/>
        </a:xfrm>
        <a:prstGeom prst="roundRect">
          <a:avLst>
            <a:gd name="adj" fmla="val 1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Statistics Internals</a:t>
          </a:r>
        </a:p>
      </dsp:txBody>
      <dsp:txXfrm>
        <a:off x="31215" y="2115987"/>
        <a:ext cx="3409701" cy="814418"/>
      </dsp:txXfrm>
    </dsp:sp>
    <dsp:sp modelId="{9EEF22D0-0512-4D7E-A29E-CCFBAE1078E3}">
      <dsp:nvSpPr>
        <dsp:cNvPr id="0" name=""/>
        <dsp:cNvSpPr/>
      </dsp:nvSpPr>
      <dsp:spPr>
        <a:xfrm rot="5400000">
          <a:off x="1660370" y="3031439"/>
          <a:ext cx="151391" cy="151391"/>
        </a:xfrm>
        <a:prstGeom prst="rightArrow">
          <a:avLst>
            <a:gd name="adj1" fmla="val 66700"/>
            <a:gd name="adj2" fmla="val 50000"/>
          </a:avLst>
        </a:prstGeom>
        <a:solidFill>
          <a:schemeClr val="accent3">
            <a:hueOff val="252234"/>
            <a:satOff val="0"/>
            <a:lumOff val="125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79473975-CF9B-43B4-9534-93F78748F466}">
      <dsp:nvSpPr>
        <dsp:cNvPr id="0" name=""/>
        <dsp:cNvSpPr/>
      </dsp:nvSpPr>
      <dsp:spPr>
        <a:xfrm>
          <a:off x="5877" y="3258526"/>
          <a:ext cx="3460377" cy="865094"/>
        </a:xfrm>
        <a:prstGeom prst="roundRect">
          <a:avLst>
            <a:gd name="adj" fmla="val 10000"/>
          </a:avLst>
        </a:prstGeom>
        <a:solidFill>
          <a:schemeClr val="accent3">
            <a:tint val="40000"/>
            <a:alpha val="90000"/>
            <a:hueOff val="420331"/>
            <a:satOff val="2457"/>
            <a:lumOff val="320"/>
            <a:alphaOff val="0"/>
          </a:schemeClr>
        </a:solidFill>
        <a:ln w="12700" cap="flat" cmpd="sng" algn="ctr">
          <a:solidFill>
            <a:schemeClr val="accent3">
              <a:tint val="40000"/>
              <a:alpha val="90000"/>
              <a:hueOff val="420331"/>
              <a:satOff val="2457"/>
              <a:lumOff val="32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Cardinality Estimation</a:t>
          </a:r>
        </a:p>
      </dsp:txBody>
      <dsp:txXfrm>
        <a:off x="31215" y="3283864"/>
        <a:ext cx="3409701" cy="814418"/>
      </dsp:txXfrm>
    </dsp:sp>
    <dsp:sp modelId="{4F2E4FFD-8348-454C-97A3-F9F959638A65}">
      <dsp:nvSpPr>
        <dsp:cNvPr id="0" name=""/>
        <dsp:cNvSpPr/>
      </dsp:nvSpPr>
      <dsp:spPr>
        <a:xfrm rot="5400000">
          <a:off x="1660370" y="4199316"/>
          <a:ext cx="151391" cy="151391"/>
        </a:xfrm>
        <a:prstGeom prst="rightArrow">
          <a:avLst>
            <a:gd name="adj1" fmla="val 66700"/>
            <a:gd name="adj2" fmla="val 50000"/>
          </a:avLst>
        </a:prstGeom>
        <a:solidFill>
          <a:schemeClr val="accent3">
            <a:hueOff val="504467"/>
            <a:satOff val="0"/>
            <a:lumOff val="250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968475B1-8192-4134-A95F-6E96837CECE5}">
      <dsp:nvSpPr>
        <dsp:cNvPr id="0" name=""/>
        <dsp:cNvSpPr/>
      </dsp:nvSpPr>
      <dsp:spPr>
        <a:xfrm>
          <a:off x="5877" y="4426403"/>
          <a:ext cx="3460377" cy="865094"/>
        </a:xfrm>
        <a:prstGeom prst="roundRect">
          <a:avLst>
            <a:gd name="adj" fmla="val 10000"/>
          </a:avLst>
        </a:prstGeom>
        <a:solidFill>
          <a:schemeClr val="accent3">
            <a:tint val="40000"/>
            <a:alpha val="90000"/>
            <a:hueOff val="840662"/>
            <a:satOff val="4914"/>
            <a:lumOff val="641"/>
            <a:alphaOff val="0"/>
          </a:schemeClr>
        </a:solidFill>
        <a:ln w="12700" cap="flat" cmpd="sng" algn="ctr">
          <a:solidFill>
            <a:schemeClr val="accent3">
              <a:tint val="40000"/>
              <a:alpha val="90000"/>
              <a:hueOff val="840662"/>
              <a:satOff val="4914"/>
              <a:lumOff val="6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Statistics Maintenance </a:t>
          </a:r>
        </a:p>
      </dsp:txBody>
      <dsp:txXfrm>
        <a:off x="31215" y="4451741"/>
        <a:ext cx="3409701" cy="814418"/>
      </dsp:txXfrm>
    </dsp:sp>
    <dsp:sp modelId="{D3DFD793-A549-4A64-9E53-BC1CF856C1F1}">
      <dsp:nvSpPr>
        <dsp:cNvPr id="0" name=""/>
        <dsp:cNvSpPr/>
      </dsp:nvSpPr>
      <dsp:spPr>
        <a:xfrm>
          <a:off x="3950707" y="276710"/>
          <a:ext cx="3460377" cy="1475824"/>
        </a:xfrm>
        <a:prstGeom prst="roundRect">
          <a:avLst>
            <a:gd name="adj" fmla="val 10000"/>
          </a:avLst>
        </a:prstGeom>
        <a:solidFill>
          <a:schemeClr val="accent3">
            <a:hueOff val="1008935"/>
            <a:satOff val="0"/>
            <a:lumOff val="500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7: SQL Server Query Execution and Plans</a:t>
          </a:r>
        </a:p>
      </dsp:txBody>
      <dsp:txXfrm>
        <a:off x="3993932" y="319935"/>
        <a:ext cx="3373927" cy="1389374"/>
      </dsp:txXfrm>
    </dsp:sp>
    <dsp:sp modelId="{DBC1F642-52B4-4173-8794-DBC1D546D432}">
      <dsp:nvSpPr>
        <dsp:cNvPr id="0" name=""/>
        <dsp:cNvSpPr/>
      </dsp:nvSpPr>
      <dsp:spPr>
        <a:xfrm rot="5400000">
          <a:off x="5605200" y="1828231"/>
          <a:ext cx="151391" cy="151391"/>
        </a:xfrm>
        <a:prstGeom prst="rightArrow">
          <a:avLst>
            <a:gd name="adj1" fmla="val 66700"/>
            <a:gd name="adj2" fmla="val 50000"/>
          </a:avLst>
        </a:prstGeom>
        <a:solidFill>
          <a:schemeClr val="accent3">
            <a:hueOff val="756701"/>
            <a:satOff val="0"/>
            <a:lumOff val="375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90E92A6F-B338-47B9-9093-CC45004F02EF}">
      <dsp:nvSpPr>
        <dsp:cNvPr id="0" name=""/>
        <dsp:cNvSpPr/>
      </dsp:nvSpPr>
      <dsp:spPr>
        <a:xfrm>
          <a:off x="3950707" y="2055318"/>
          <a:ext cx="3460377" cy="865094"/>
        </a:xfrm>
        <a:prstGeom prst="roundRect">
          <a:avLst>
            <a:gd name="adj" fmla="val 10000"/>
          </a:avLst>
        </a:prstGeom>
        <a:solidFill>
          <a:schemeClr val="accent3">
            <a:tint val="40000"/>
            <a:alpha val="90000"/>
            <a:hueOff val="1260993"/>
            <a:satOff val="7371"/>
            <a:lumOff val="961"/>
            <a:alphaOff val="0"/>
          </a:schemeClr>
        </a:solidFill>
        <a:ln w="12700" cap="flat" cmpd="sng" algn="ctr">
          <a:solidFill>
            <a:schemeClr val="accent3">
              <a:tint val="40000"/>
              <a:alpha val="90000"/>
              <a:hueOff val="1260993"/>
              <a:satOff val="7371"/>
              <a:lumOff val="96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Query Execution</a:t>
          </a:r>
        </a:p>
      </dsp:txBody>
      <dsp:txXfrm>
        <a:off x="3976045" y="2080656"/>
        <a:ext cx="3409701" cy="814418"/>
      </dsp:txXfrm>
    </dsp:sp>
    <dsp:sp modelId="{C4CEFBA8-D246-4F2A-9B77-B06EAE36DBD5}">
      <dsp:nvSpPr>
        <dsp:cNvPr id="0" name=""/>
        <dsp:cNvSpPr/>
      </dsp:nvSpPr>
      <dsp:spPr>
        <a:xfrm rot="5400000">
          <a:off x="5605200" y="2996108"/>
          <a:ext cx="151391" cy="151391"/>
        </a:xfrm>
        <a:prstGeom prst="rightArrow">
          <a:avLst>
            <a:gd name="adj1" fmla="val 66700"/>
            <a:gd name="adj2" fmla="val 50000"/>
          </a:avLst>
        </a:prstGeom>
        <a:solidFill>
          <a:schemeClr val="accent3">
            <a:hueOff val="1008935"/>
            <a:satOff val="0"/>
            <a:lumOff val="500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CBF60740-2C03-4778-ABCD-938D0AE91436}">
      <dsp:nvSpPr>
        <dsp:cNvPr id="0" name=""/>
        <dsp:cNvSpPr/>
      </dsp:nvSpPr>
      <dsp:spPr>
        <a:xfrm>
          <a:off x="3950707" y="3223196"/>
          <a:ext cx="3460377" cy="865094"/>
        </a:xfrm>
        <a:prstGeom prst="roundRect">
          <a:avLst>
            <a:gd name="adj" fmla="val 10000"/>
          </a:avLst>
        </a:prstGeom>
        <a:solidFill>
          <a:schemeClr val="accent3">
            <a:tint val="40000"/>
            <a:alpha val="90000"/>
            <a:hueOff val="1681324"/>
            <a:satOff val="9829"/>
            <a:lumOff val="1281"/>
            <a:alphaOff val="0"/>
          </a:schemeClr>
        </a:solidFill>
        <a:ln w="12700" cap="flat" cmpd="sng" algn="ctr">
          <a:solidFill>
            <a:schemeClr val="accent3">
              <a:tint val="40000"/>
              <a:alpha val="90000"/>
              <a:hueOff val="1681324"/>
              <a:satOff val="9829"/>
              <a:lumOff val="128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Query Plan Analysis</a:t>
          </a:r>
        </a:p>
      </dsp:txBody>
      <dsp:txXfrm>
        <a:off x="3976045" y="3248534"/>
        <a:ext cx="3409701" cy="814418"/>
      </dsp:txXfrm>
    </dsp:sp>
    <dsp:sp modelId="{EC191B0F-479D-46A4-A532-261DC6C321E7}">
      <dsp:nvSpPr>
        <dsp:cNvPr id="0" name=""/>
        <dsp:cNvSpPr/>
      </dsp:nvSpPr>
      <dsp:spPr>
        <a:xfrm rot="5400000">
          <a:off x="5605200" y="4163986"/>
          <a:ext cx="151391" cy="151391"/>
        </a:xfrm>
        <a:prstGeom prst="rightArrow">
          <a:avLst>
            <a:gd name="adj1" fmla="val 66700"/>
            <a:gd name="adj2" fmla="val 50000"/>
          </a:avLst>
        </a:prstGeom>
        <a:solidFill>
          <a:schemeClr val="accent3">
            <a:hueOff val="1261169"/>
            <a:satOff val="0"/>
            <a:lumOff val="625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6C93B03E-9553-4CEA-B59E-253C3A6F9EE2}">
      <dsp:nvSpPr>
        <dsp:cNvPr id="0" name=""/>
        <dsp:cNvSpPr/>
      </dsp:nvSpPr>
      <dsp:spPr>
        <a:xfrm>
          <a:off x="3950707" y="4391073"/>
          <a:ext cx="3460377" cy="865094"/>
        </a:xfrm>
        <a:prstGeom prst="roundRect">
          <a:avLst>
            <a:gd name="adj" fmla="val 10000"/>
          </a:avLst>
        </a:prstGeom>
        <a:solidFill>
          <a:schemeClr val="accent3">
            <a:tint val="40000"/>
            <a:alpha val="90000"/>
            <a:hueOff val="2101655"/>
            <a:satOff val="12286"/>
            <a:lumOff val="1601"/>
            <a:alphaOff val="0"/>
          </a:schemeClr>
        </a:solidFill>
        <a:ln w="12700" cap="flat" cmpd="sng" algn="ctr">
          <a:solidFill>
            <a:schemeClr val="accent3">
              <a:tint val="40000"/>
              <a:alpha val="90000"/>
              <a:hueOff val="2101655"/>
              <a:satOff val="12286"/>
              <a:lumOff val="160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Intelligent Query Processing</a:t>
          </a:r>
        </a:p>
      </dsp:txBody>
      <dsp:txXfrm>
        <a:off x="3976045" y="4416411"/>
        <a:ext cx="3409701" cy="814418"/>
      </dsp:txXfrm>
    </dsp:sp>
    <dsp:sp modelId="{978911C3-F874-49DC-AAED-E0BD391B6462}">
      <dsp:nvSpPr>
        <dsp:cNvPr id="0" name=""/>
        <dsp:cNvSpPr/>
      </dsp:nvSpPr>
      <dsp:spPr>
        <a:xfrm>
          <a:off x="7895537" y="276710"/>
          <a:ext cx="3460377" cy="1542350"/>
        </a:xfrm>
        <a:prstGeom prst="roundRect">
          <a:avLst>
            <a:gd name="adj" fmla="val 10000"/>
          </a:avLst>
        </a:prstGeom>
        <a:solidFill>
          <a:schemeClr val="accent3">
            <a:hueOff val="2017870"/>
            <a:satOff val="0"/>
            <a:lumOff val="1000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8: SQL Server Plan Caching and Query Store</a:t>
          </a:r>
        </a:p>
      </dsp:txBody>
      <dsp:txXfrm>
        <a:off x="7940711" y="321884"/>
        <a:ext cx="3370029" cy="1452002"/>
      </dsp:txXfrm>
    </dsp:sp>
    <dsp:sp modelId="{58567880-22DC-488D-ADF0-EDB93FA0E257}">
      <dsp:nvSpPr>
        <dsp:cNvPr id="0" name=""/>
        <dsp:cNvSpPr/>
      </dsp:nvSpPr>
      <dsp:spPr>
        <a:xfrm rot="5400000">
          <a:off x="9550030" y="1894757"/>
          <a:ext cx="151391" cy="151391"/>
        </a:xfrm>
        <a:prstGeom prst="rightArrow">
          <a:avLst>
            <a:gd name="adj1" fmla="val 66700"/>
            <a:gd name="adj2" fmla="val 50000"/>
          </a:avLst>
        </a:prstGeom>
        <a:solidFill>
          <a:schemeClr val="accent3">
            <a:hueOff val="1513402"/>
            <a:satOff val="0"/>
            <a:lumOff val="750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6EEE6683-C7E8-4C4E-8E6F-9CBCB54EBFAD}">
      <dsp:nvSpPr>
        <dsp:cNvPr id="0" name=""/>
        <dsp:cNvSpPr/>
      </dsp:nvSpPr>
      <dsp:spPr>
        <a:xfrm>
          <a:off x="7895537" y="2121844"/>
          <a:ext cx="3460377" cy="865094"/>
        </a:xfrm>
        <a:prstGeom prst="roundRect">
          <a:avLst>
            <a:gd name="adj" fmla="val 10000"/>
          </a:avLst>
        </a:prstGeom>
        <a:solidFill>
          <a:schemeClr val="accent3">
            <a:tint val="40000"/>
            <a:alpha val="90000"/>
            <a:hueOff val="2521986"/>
            <a:satOff val="14743"/>
            <a:lumOff val="1922"/>
            <a:alphaOff val="0"/>
          </a:schemeClr>
        </a:solidFill>
        <a:ln w="12700" cap="flat" cmpd="sng" algn="ctr">
          <a:solidFill>
            <a:schemeClr val="accent3">
              <a:tint val="40000"/>
              <a:alpha val="90000"/>
              <a:hueOff val="2521986"/>
              <a:satOff val="14743"/>
              <a:lumOff val="192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Plan Cache Internals</a:t>
          </a:r>
        </a:p>
      </dsp:txBody>
      <dsp:txXfrm>
        <a:off x="7920875" y="2147182"/>
        <a:ext cx="3409701" cy="814418"/>
      </dsp:txXfrm>
    </dsp:sp>
    <dsp:sp modelId="{B029001E-07D1-49AD-B97B-8C3ABB77F700}">
      <dsp:nvSpPr>
        <dsp:cNvPr id="0" name=""/>
        <dsp:cNvSpPr/>
      </dsp:nvSpPr>
      <dsp:spPr>
        <a:xfrm rot="5400000">
          <a:off x="9550030" y="3062634"/>
          <a:ext cx="151391" cy="151391"/>
        </a:xfrm>
        <a:prstGeom prst="rightArrow">
          <a:avLst>
            <a:gd name="adj1" fmla="val 66700"/>
            <a:gd name="adj2" fmla="val 50000"/>
          </a:avLst>
        </a:prstGeom>
        <a:solidFill>
          <a:schemeClr val="accent3">
            <a:hueOff val="1765636"/>
            <a:satOff val="0"/>
            <a:lumOff val="875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F03AAF81-D1D8-4D98-AEDC-DC00C3F54EAE}">
      <dsp:nvSpPr>
        <dsp:cNvPr id="0" name=""/>
        <dsp:cNvSpPr/>
      </dsp:nvSpPr>
      <dsp:spPr>
        <a:xfrm>
          <a:off x="7895537" y="3289721"/>
          <a:ext cx="3460377" cy="865094"/>
        </a:xfrm>
        <a:prstGeom prst="roundRect">
          <a:avLst>
            <a:gd name="adj" fmla="val 10000"/>
          </a:avLst>
        </a:prstGeom>
        <a:solidFill>
          <a:schemeClr val="accent3">
            <a:tint val="40000"/>
            <a:alpha val="90000"/>
            <a:hueOff val="2942318"/>
            <a:satOff val="17200"/>
            <a:lumOff val="2242"/>
            <a:alphaOff val="0"/>
          </a:schemeClr>
        </a:solidFill>
        <a:ln w="12700" cap="flat" cmpd="sng" algn="ctr">
          <a:solidFill>
            <a:schemeClr val="accent3">
              <a:tint val="40000"/>
              <a:alpha val="90000"/>
              <a:hueOff val="2942318"/>
              <a:satOff val="17200"/>
              <a:lumOff val="224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Query Store</a:t>
          </a:r>
        </a:p>
      </dsp:txBody>
      <dsp:txXfrm>
        <a:off x="7920875" y="3315059"/>
        <a:ext cx="3409701" cy="814418"/>
      </dsp:txXfrm>
    </dsp:sp>
    <dsp:sp modelId="{357B8704-671F-4FCB-BEED-1E891BEF2CEE}">
      <dsp:nvSpPr>
        <dsp:cNvPr id="0" name=""/>
        <dsp:cNvSpPr/>
      </dsp:nvSpPr>
      <dsp:spPr>
        <a:xfrm rot="5400000">
          <a:off x="9550030" y="4230512"/>
          <a:ext cx="151391" cy="151391"/>
        </a:xfrm>
        <a:prstGeom prst="rightArrow">
          <a:avLst>
            <a:gd name="adj1" fmla="val 66700"/>
            <a:gd name="adj2" fmla="val 50000"/>
          </a:avLst>
        </a:prstGeom>
        <a:solidFill>
          <a:schemeClr val="accent3">
            <a:hueOff val="2017870"/>
            <a:satOff val="0"/>
            <a:lumOff val="1000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6525B020-02A4-497E-84B1-900330EBC418}">
      <dsp:nvSpPr>
        <dsp:cNvPr id="0" name=""/>
        <dsp:cNvSpPr/>
      </dsp:nvSpPr>
      <dsp:spPr>
        <a:xfrm>
          <a:off x="7895537" y="4457599"/>
          <a:ext cx="3460377" cy="863519"/>
        </a:xfrm>
        <a:prstGeom prst="roundRect">
          <a:avLst>
            <a:gd name="adj" fmla="val 10000"/>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Query Store Troubleshooting</a:t>
          </a:r>
        </a:p>
      </dsp:txBody>
      <dsp:txXfrm>
        <a:off x="7920829" y="4482891"/>
        <a:ext cx="3409793" cy="81293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0E326E-E2CB-4D32-B70C-1A5F82F5F957}">
      <dsp:nvSpPr>
        <dsp:cNvPr id="0" name=""/>
        <dsp:cNvSpPr/>
      </dsp:nvSpPr>
      <dsp:spPr>
        <a:xfrm>
          <a:off x="1574690" y="1778"/>
          <a:ext cx="3837574" cy="1708728"/>
        </a:xfrm>
        <a:prstGeom prst="roundRect">
          <a:avLst>
            <a:gd name="adj" fmla="val 10000"/>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Module 9: SQL Server Query Tuning</a:t>
          </a:r>
        </a:p>
      </dsp:txBody>
      <dsp:txXfrm>
        <a:off x="1624737" y="51825"/>
        <a:ext cx="3737480" cy="1608634"/>
      </dsp:txXfrm>
    </dsp:sp>
    <dsp:sp modelId="{90F6B45D-6A72-474E-99F3-5094BF144B65}">
      <dsp:nvSpPr>
        <dsp:cNvPr id="0" name=""/>
        <dsp:cNvSpPr/>
      </dsp:nvSpPr>
      <dsp:spPr>
        <a:xfrm rot="5400000">
          <a:off x="3409531" y="1794453"/>
          <a:ext cx="167893" cy="167893"/>
        </a:xfrm>
        <a:prstGeom prst="rightArrow">
          <a:avLst>
            <a:gd name="adj1" fmla="val 667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433380EA-0F97-439F-BB5B-7F1FF6368657}">
      <dsp:nvSpPr>
        <dsp:cNvPr id="0" name=""/>
        <dsp:cNvSpPr/>
      </dsp:nvSpPr>
      <dsp:spPr>
        <a:xfrm>
          <a:off x="1574690" y="2046294"/>
          <a:ext cx="3837574" cy="959393"/>
        </a:xfrm>
        <a:prstGeom prst="roundRect">
          <a:avLst>
            <a:gd name="adj" fmla="val 1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fr-FR" sz="1800" kern="1200" dirty="0"/>
            <a:t>Sargable expressions</a:t>
          </a:r>
          <a:endParaRPr lang="en-US" sz="1800" kern="1200" dirty="0"/>
        </a:p>
      </dsp:txBody>
      <dsp:txXfrm>
        <a:off x="1602790" y="2074394"/>
        <a:ext cx="3781374" cy="903193"/>
      </dsp:txXfrm>
    </dsp:sp>
    <dsp:sp modelId="{EBA25B93-C6DD-40C1-B2C9-7DD3B823265A}">
      <dsp:nvSpPr>
        <dsp:cNvPr id="0" name=""/>
        <dsp:cNvSpPr/>
      </dsp:nvSpPr>
      <dsp:spPr>
        <a:xfrm rot="5400000">
          <a:off x="3409531" y="3089635"/>
          <a:ext cx="167893" cy="167893"/>
        </a:xfrm>
        <a:prstGeom prst="rightArrow">
          <a:avLst>
            <a:gd name="adj1" fmla="val 66700"/>
            <a:gd name="adj2" fmla="val 50000"/>
          </a:avLst>
        </a:prstGeom>
        <a:solidFill>
          <a:schemeClr val="accent3">
            <a:hueOff val="504467"/>
            <a:satOff val="0"/>
            <a:lumOff val="250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9373BB45-F166-4F8E-8882-A443AFFED221}">
      <dsp:nvSpPr>
        <dsp:cNvPr id="0" name=""/>
        <dsp:cNvSpPr/>
      </dsp:nvSpPr>
      <dsp:spPr>
        <a:xfrm>
          <a:off x="1574690" y="3341476"/>
          <a:ext cx="3837574" cy="959393"/>
        </a:xfrm>
        <a:prstGeom prst="roundRect">
          <a:avLst>
            <a:gd name="adj" fmla="val 10000"/>
          </a:avLst>
        </a:prstGeom>
        <a:solidFill>
          <a:schemeClr val="accent3">
            <a:tint val="40000"/>
            <a:alpha val="90000"/>
            <a:hueOff val="840662"/>
            <a:satOff val="4914"/>
            <a:lumOff val="641"/>
            <a:alphaOff val="0"/>
          </a:schemeClr>
        </a:solidFill>
        <a:ln w="12700" cap="flat" cmpd="sng" algn="ctr">
          <a:solidFill>
            <a:schemeClr val="accent3">
              <a:tint val="40000"/>
              <a:alpha val="90000"/>
              <a:hueOff val="840662"/>
              <a:satOff val="4914"/>
              <a:lumOff val="6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Query Hints</a:t>
          </a:r>
        </a:p>
      </dsp:txBody>
      <dsp:txXfrm>
        <a:off x="1602790" y="3369576"/>
        <a:ext cx="3781374" cy="903193"/>
      </dsp:txXfrm>
    </dsp:sp>
    <dsp:sp modelId="{5270A3B3-C429-4A0E-8E01-7A93FF1C1AF3}">
      <dsp:nvSpPr>
        <dsp:cNvPr id="0" name=""/>
        <dsp:cNvSpPr/>
      </dsp:nvSpPr>
      <dsp:spPr>
        <a:xfrm rot="5400000">
          <a:off x="3409531" y="4384816"/>
          <a:ext cx="167893" cy="167893"/>
        </a:xfrm>
        <a:prstGeom prst="rightArrow">
          <a:avLst>
            <a:gd name="adj1" fmla="val 66700"/>
            <a:gd name="adj2" fmla="val 50000"/>
          </a:avLst>
        </a:prstGeom>
        <a:solidFill>
          <a:schemeClr val="accent3">
            <a:hueOff val="1008935"/>
            <a:satOff val="0"/>
            <a:lumOff val="500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4333360E-24B0-494D-92DA-298C9967C214}">
      <dsp:nvSpPr>
        <dsp:cNvPr id="0" name=""/>
        <dsp:cNvSpPr/>
      </dsp:nvSpPr>
      <dsp:spPr>
        <a:xfrm>
          <a:off x="1574690" y="4636657"/>
          <a:ext cx="3837574" cy="959393"/>
        </a:xfrm>
        <a:prstGeom prst="roundRect">
          <a:avLst>
            <a:gd name="adj" fmla="val 10000"/>
          </a:avLst>
        </a:prstGeom>
        <a:solidFill>
          <a:schemeClr val="accent3">
            <a:tint val="40000"/>
            <a:alpha val="90000"/>
            <a:hueOff val="1681324"/>
            <a:satOff val="9829"/>
            <a:lumOff val="1281"/>
            <a:alphaOff val="0"/>
          </a:schemeClr>
        </a:solidFill>
        <a:ln w="12700" cap="flat" cmpd="sng" algn="ctr">
          <a:solidFill>
            <a:schemeClr val="accent3">
              <a:tint val="40000"/>
              <a:alpha val="90000"/>
              <a:hueOff val="1681324"/>
              <a:satOff val="9829"/>
              <a:lumOff val="128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Query Troubleshooting</a:t>
          </a:r>
        </a:p>
      </dsp:txBody>
      <dsp:txXfrm>
        <a:off x="1602790" y="4664757"/>
        <a:ext cx="3781374" cy="903193"/>
      </dsp:txXfrm>
    </dsp:sp>
    <dsp:sp modelId="{079F5C22-BB7D-4827-B7A1-A0611FB6958C}">
      <dsp:nvSpPr>
        <dsp:cNvPr id="0" name=""/>
        <dsp:cNvSpPr/>
      </dsp:nvSpPr>
      <dsp:spPr>
        <a:xfrm>
          <a:off x="5949526" y="1778"/>
          <a:ext cx="3837574" cy="1642904"/>
        </a:xfrm>
        <a:prstGeom prst="roundRect">
          <a:avLst>
            <a:gd name="adj" fmla="val 10000"/>
          </a:avLst>
        </a:prstGeom>
        <a:solidFill>
          <a:schemeClr val="accent3">
            <a:hueOff val="2017870"/>
            <a:satOff val="0"/>
            <a:lumOff val="1000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Module 10: SQL Server Performance Tools</a:t>
          </a:r>
        </a:p>
      </dsp:txBody>
      <dsp:txXfrm>
        <a:off x="5997645" y="49897"/>
        <a:ext cx="3741336" cy="1546666"/>
      </dsp:txXfrm>
    </dsp:sp>
    <dsp:sp modelId="{DE024214-E65D-4036-B044-36071D0F0491}">
      <dsp:nvSpPr>
        <dsp:cNvPr id="0" name=""/>
        <dsp:cNvSpPr/>
      </dsp:nvSpPr>
      <dsp:spPr>
        <a:xfrm rot="5400000">
          <a:off x="7784366" y="1728629"/>
          <a:ext cx="167893" cy="167893"/>
        </a:xfrm>
        <a:prstGeom prst="rightArrow">
          <a:avLst>
            <a:gd name="adj1" fmla="val 66700"/>
            <a:gd name="adj2" fmla="val 50000"/>
          </a:avLst>
        </a:prstGeom>
        <a:solidFill>
          <a:schemeClr val="accent3">
            <a:hueOff val="1513402"/>
            <a:satOff val="0"/>
            <a:lumOff val="750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DA5CE677-C890-40E5-864B-5AE6E37F20D1}">
      <dsp:nvSpPr>
        <dsp:cNvPr id="0" name=""/>
        <dsp:cNvSpPr/>
      </dsp:nvSpPr>
      <dsp:spPr>
        <a:xfrm>
          <a:off x="5949526" y="1980470"/>
          <a:ext cx="3837574" cy="959393"/>
        </a:xfrm>
        <a:prstGeom prst="roundRect">
          <a:avLst>
            <a:gd name="adj" fmla="val 10000"/>
          </a:avLst>
        </a:prstGeom>
        <a:solidFill>
          <a:schemeClr val="accent3">
            <a:tint val="40000"/>
            <a:alpha val="90000"/>
            <a:hueOff val="2521986"/>
            <a:satOff val="14743"/>
            <a:lumOff val="1922"/>
            <a:alphaOff val="0"/>
          </a:schemeClr>
        </a:solidFill>
        <a:ln w="12700" cap="flat" cmpd="sng" algn="ctr">
          <a:solidFill>
            <a:schemeClr val="accent3">
              <a:tint val="40000"/>
              <a:alpha val="90000"/>
              <a:hueOff val="2521986"/>
              <a:satOff val="14743"/>
              <a:lumOff val="192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Extended Events</a:t>
          </a:r>
        </a:p>
      </dsp:txBody>
      <dsp:txXfrm>
        <a:off x="5977626" y="2008570"/>
        <a:ext cx="3781374" cy="903193"/>
      </dsp:txXfrm>
    </dsp:sp>
    <dsp:sp modelId="{C5743362-1E2B-426A-AC8D-B97C1A44414B}">
      <dsp:nvSpPr>
        <dsp:cNvPr id="0" name=""/>
        <dsp:cNvSpPr/>
      </dsp:nvSpPr>
      <dsp:spPr>
        <a:xfrm rot="5400000">
          <a:off x="7784366" y="3023811"/>
          <a:ext cx="167893" cy="167893"/>
        </a:xfrm>
        <a:prstGeom prst="rightArrow">
          <a:avLst>
            <a:gd name="adj1" fmla="val 66700"/>
            <a:gd name="adj2" fmla="val 50000"/>
          </a:avLst>
        </a:prstGeom>
        <a:solidFill>
          <a:schemeClr val="accent3">
            <a:hueOff val="2017870"/>
            <a:satOff val="0"/>
            <a:lumOff val="1000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11456715-8B6E-42DC-BCB2-CE50F9064BB9}">
      <dsp:nvSpPr>
        <dsp:cNvPr id="0" name=""/>
        <dsp:cNvSpPr/>
      </dsp:nvSpPr>
      <dsp:spPr>
        <a:xfrm>
          <a:off x="5949526" y="3275652"/>
          <a:ext cx="3837574" cy="959393"/>
        </a:xfrm>
        <a:prstGeom prst="roundRect">
          <a:avLst>
            <a:gd name="adj" fmla="val 10000"/>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Resource Governor</a:t>
          </a:r>
        </a:p>
      </dsp:txBody>
      <dsp:txXfrm>
        <a:off x="5977626" y="3303752"/>
        <a:ext cx="3781374" cy="903193"/>
      </dsp:txXfrm>
    </dsp:sp>
  </dsp:spTree>
</dsp:drawing>
</file>

<file path=ppt/diagrams/layout1.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11/1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11/10/2022</a:t>
            </a:fld>
            <a:endParaRPr lang="en-US"/>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02691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75C4C8-7DEA-455A-9336-A4C7DB3AE516}" type="slidenum">
              <a:rPr lang="en-US"/>
              <a:pPr/>
              <a:t>10</a:t>
            </a:fld>
            <a:endParaRPr lang="en-US"/>
          </a:p>
        </p:txBody>
      </p:sp>
      <p:sp>
        <p:nvSpPr>
          <p:cNvPr id="5" name="Date Placeholder 4"/>
          <p:cNvSpPr>
            <a:spLocks noGrp="1"/>
          </p:cNvSpPr>
          <p:nvPr>
            <p:ph type="dt" idx="11"/>
          </p:nvPr>
        </p:nvSpPr>
        <p:spPr/>
        <p:txBody>
          <a:bodyPr/>
          <a:lstStyle/>
          <a:p>
            <a:fld id="{D94EBC20-BA13-4080-8FB6-591972FDA3AE}" type="datetime1">
              <a:rPr lang="en-US"/>
              <a:pPr/>
              <a:t>11/10/2022</a:t>
            </a:fld>
            <a:endParaRPr lang="en-US"/>
          </a:p>
        </p:txBody>
      </p:sp>
    </p:spTree>
    <p:extLst>
      <p:ext uri="{BB962C8B-B14F-4D97-AF65-F5344CB8AC3E}">
        <p14:creationId xmlns:p14="http://schemas.microsoft.com/office/powerpoint/2010/main" val="41327293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75C4C8-7DEA-455A-9336-A4C7DB3AE516}" type="slidenum">
              <a:rPr lang="en-US"/>
              <a:pPr/>
              <a:t>11</a:t>
            </a:fld>
            <a:endParaRPr lang="en-US"/>
          </a:p>
        </p:txBody>
      </p:sp>
      <p:sp>
        <p:nvSpPr>
          <p:cNvPr id="5" name="Date Placeholder 4"/>
          <p:cNvSpPr>
            <a:spLocks noGrp="1"/>
          </p:cNvSpPr>
          <p:nvPr>
            <p:ph type="dt" idx="11"/>
          </p:nvPr>
        </p:nvSpPr>
        <p:spPr/>
        <p:txBody>
          <a:bodyPr/>
          <a:lstStyle/>
          <a:p>
            <a:fld id="{D94EBC20-BA13-4080-8FB6-591972FDA3AE}" type="datetime1">
              <a:rPr lang="en-US"/>
              <a:pPr/>
              <a:t>11/10/2022</a:t>
            </a:fld>
            <a:endParaRPr lang="en-US"/>
          </a:p>
        </p:txBody>
      </p:sp>
    </p:spTree>
    <p:extLst>
      <p:ext uri="{BB962C8B-B14F-4D97-AF65-F5344CB8AC3E}">
        <p14:creationId xmlns:p14="http://schemas.microsoft.com/office/powerpoint/2010/main" val="41553401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12</a:t>
            </a:fld>
            <a:endParaRPr lang="en-US"/>
          </a:p>
        </p:txBody>
      </p:sp>
    </p:spTree>
    <p:extLst>
      <p:ext uri="{BB962C8B-B14F-4D97-AF65-F5344CB8AC3E}">
        <p14:creationId xmlns:p14="http://schemas.microsoft.com/office/powerpoint/2010/main" val="29293750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14</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11/10/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3482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5100718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985519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9274376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3203193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0/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418962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aka.ms/premiereducation  redirects to https://mslearningcampus.com/User/Login?ReturnUrl=%2f</a:t>
            </a:r>
          </a:p>
          <a:p>
            <a:r>
              <a:rPr lang="en-US"/>
              <a:t>##########</a:t>
            </a:r>
          </a:p>
          <a:p>
            <a:endParaRPr lang="en-US"/>
          </a:p>
        </p:txBody>
      </p:sp>
      <p:sp>
        <p:nvSpPr>
          <p:cNvPr id="4" name="Slide Number Placeholder 3"/>
          <p:cNvSpPr>
            <a:spLocks noGrp="1"/>
          </p:cNvSpPr>
          <p:nvPr>
            <p:ph type="sldNum" sz="quarter" idx="10"/>
          </p:nvPr>
        </p:nvSpPr>
        <p:spPr/>
        <p:txBody>
          <a:bodyPr/>
          <a:lstStyle/>
          <a:p>
            <a:fld id="{F475C4C8-7DEA-455A-9336-A4C7DB3AE516}" type="slidenum">
              <a:rPr lang="en-US"/>
              <a:pPr/>
              <a:t>8</a:t>
            </a:fld>
            <a:endParaRPr lang="en-US"/>
          </a:p>
        </p:txBody>
      </p:sp>
      <p:sp>
        <p:nvSpPr>
          <p:cNvPr id="5" name="Date Placeholder 4"/>
          <p:cNvSpPr>
            <a:spLocks noGrp="1"/>
          </p:cNvSpPr>
          <p:nvPr>
            <p:ph type="dt" idx="11"/>
          </p:nvPr>
        </p:nvSpPr>
        <p:spPr/>
        <p:txBody>
          <a:bodyPr/>
          <a:lstStyle/>
          <a:p>
            <a:fld id="{D94EBC20-BA13-4080-8FB6-591972FDA3AE}" type="datetime1">
              <a:rPr lang="en-US"/>
              <a:pPr/>
              <a:t>11/10/2022</a:t>
            </a:fld>
            <a:endParaRPr lang="en-US"/>
          </a:p>
        </p:txBody>
      </p:sp>
    </p:spTree>
    <p:extLst>
      <p:ext uri="{BB962C8B-B14F-4D97-AF65-F5344CB8AC3E}">
        <p14:creationId xmlns:p14="http://schemas.microsoft.com/office/powerpoint/2010/main" val="3876782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aka.ms/premiereducation  redirects to https://mslearningcampus.com/User/Login?ReturnUrl=%2f</a:t>
            </a:r>
          </a:p>
          <a:p>
            <a:r>
              <a:rPr lang="en-US" dirty="0"/>
              <a:t>##########</a:t>
            </a:r>
          </a:p>
          <a:p>
            <a:endParaRPr lang="en-US" dirty="0"/>
          </a:p>
        </p:txBody>
      </p:sp>
      <p:sp>
        <p:nvSpPr>
          <p:cNvPr id="4" name="Slide Number Placeholder 3"/>
          <p:cNvSpPr>
            <a:spLocks noGrp="1"/>
          </p:cNvSpPr>
          <p:nvPr>
            <p:ph type="sldNum" sz="quarter" idx="10"/>
          </p:nvPr>
        </p:nvSpPr>
        <p:spPr/>
        <p:txBody>
          <a:bodyPr/>
          <a:lstStyle/>
          <a:p>
            <a:fld id="{F475C4C8-7DEA-455A-9336-A4C7DB3AE516}" type="slidenum">
              <a:rPr lang="en-US"/>
              <a:pPr/>
              <a:t>9</a:t>
            </a:fld>
            <a:endParaRPr lang="en-US"/>
          </a:p>
        </p:txBody>
      </p:sp>
      <p:sp>
        <p:nvSpPr>
          <p:cNvPr id="5" name="Date Placeholder 4"/>
          <p:cNvSpPr>
            <a:spLocks noGrp="1"/>
          </p:cNvSpPr>
          <p:nvPr>
            <p:ph type="dt" idx="11"/>
          </p:nvPr>
        </p:nvSpPr>
        <p:spPr/>
        <p:txBody>
          <a:bodyPr/>
          <a:lstStyle/>
          <a:p>
            <a:fld id="{D94EBC20-BA13-4080-8FB6-591972FDA3AE}" type="datetime1">
              <a:rPr lang="en-US"/>
              <a:pPr/>
              <a:t>11/10/2022</a:t>
            </a:fld>
            <a:endParaRPr lang="en-US"/>
          </a:p>
        </p:txBody>
      </p:sp>
    </p:spTree>
    <p:extLst>
      <p:ext uri="{BB962C8B-B14F-4D97-AF65-F5344CB8AC3E}">
        <p14:creationId xmlns:p14="http://schemas.microsoft.com/office/powerpoint/2010/main" val="42110954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954721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8966137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3823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897900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32219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74419319"/>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93608010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40653195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9583854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6211960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63321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1187363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486422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5828794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0384930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292175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11550345"/>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87331544"/>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2917205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293748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504334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5252402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0208671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7177060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782523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1761723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2212103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8718848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2286630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129828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01143128"/>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835734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4791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41107066"/>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0184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6700192"/>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7274070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680095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248789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933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36256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25966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6335499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6847808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3693473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842803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565536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5177339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8408728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6544220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4465152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9613525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8219919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989919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558139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36269527"/>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54658258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27916205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37421251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53525194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20522786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527151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7590263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6123857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5715562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2203333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1152631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1016095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11147171"/>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4529131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9522353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7289460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3322344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7336373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141757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792885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6706214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8161626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5321970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36453194"/>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45650783"/>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4446792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901676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6470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6103831"/>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8783253"/>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415928332"/>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7921752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7583457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909686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7746062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8963582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tags" Target="../tags/tag6.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theme" Target="../theme/theme2.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image" Target="../media/image1.emf"/><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tags" Target="../tags/tag7.xml"/><Relationship Id="rId8" Type="http://schemas.openxmlformats.org/officeDocument/2006/relationships/slideLayout" Target="../slideLayouts/slideLayout54.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tags" Target="../tags/tag5.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1" Type="http://schemas.openxmlformats.org/officeDocument/2006/relationships/slideLayout" Target="../slideLayouts/slideLayout47.xml"/><Relationship Id="rId6"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92.xml"/><Relationship Id="rId1"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00490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 id="2147483856" r:id="rId45"/>
    <p:sldLayoutId id="2147483857" r:id="rId46"/>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70819696"/>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 id="2147483885" r:id="rId27"/>
    <p:sldLayoutId id="2147483886" r:id="rId28"/>
    <p:sldLayoutId id="2147483887" r:id="rId29"/>
    <p:sldLayoutId id="2147483888" r:id="rId30"/>
    <p:sldLayoutId id="2147483889" r:id="rId31"/>
    <p:sldLayoutId id="2147483890" r:id="rId32"/>
    <p:sldLayoutId id="2147483891" r:id="rId33"/>
    <p:sldLayoutId id="2147483892" r:id="rId34"/>
    <p:sldLayoutId id="2147483893" r:id="rId35"/>
    <p:sldLayoutId id="2147483894" r:id="rId36"/>
    <p:sldLayoutId id="2147483895" r:id="rId37"/>
    <p:sldLayoutId id="2147483896" r:id="rId38"/>
    <p:sldLayoutId id="2147483897" r:id="rId39"/>
    <p:sldLayoutId id="2147483898" r:id="rId40"/>
    <p:sldLayoutId id="2147483899" r:id="rId41"/>
    <p:sldLayoutId id="2147483900" r:id="rId42"/>
    <p:sldLayoutId id="2147483901" r:id="rId43"/>
    <p:sldLayoutId id="2147483902"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Tree>
    <p:extLst>
      <p:ext uri="{BB962C8B-B14F-4D97-AF65-F5344CB8AC3E}">
        <p14:creationId xmlns:p14="http://schemas.microsoft.com/office/powerpoint/2010/main" val="3732574724"/>
      </p:ext>
    </p:extLst>
  </p:cSld>
  <p:clrMap bg1="lt1" tx1="dk1" bg2="lt2" tx2="dk2" accent1="accent1" accent2="accent2" accent3="accent3" accent4="accent4" accent5="accent5" accent6="accent6" hlink="hlink" folHlink="folHlink"/>
  <p:sldLayoutIdLst>
    <p:sldLayoutId id="2147483904" r:id="rId1"/>
    <p:sldLayoutId id="2147483905" r:id="rId2"/>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customXml" Target="../../customXml/item15.xml"/><Relationship Id="rId1" Type="http://schemas.openxmlformats.org/officeDocument/2006/relationships/tags" Target="../tags/tag8.xml"/><Relationship Id="rId6" Type="http://schemas.openxmlformats.org/officeDocument/2006/relationships/notesSlide" Target="../notesSlides/notesSlide1.xml"/><Relationship Id="rId5" Type="http://schemas.openxmlformats.org/officeDocument/2006/relationships/slideLayout" Target="../slideLayouts/slideLayout3.xml"/><Relationship Id="rId4" Type="http://schemas.openxmlformats.org/officeDocument/2006/relationships/customXml" Target="../../customXml/item2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0.xml"/><Relationship Id="rId1" Type="http://schemas.openxmlformats.org/officeDocument/2006/relationships/tags" Target="../tags/tag17.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0.xml"/><Relationship Id="rId1" Type="http://schemas.openxmlformats.org/officeDocument/2006/relationships/tags" Target="../tags/tag18.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xml"/><Relationship Id="rId1" Type="http://schemas.openxmlformats.org/officeDocument/2006/relationships/tags" Target="../tags/tag19.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20.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3.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92.xml"/><Relationship Id="rId6" Type="http://schemas.openxmlformats.org/officeDocument/2006/relationships/image" Target="../media/image8.png"/><Relationship Id="rId5" Type="http://schemas.openxmlformats.org/officeDocument/2006/relationships/image" Target="../media/image7.jpg"/><Relationship Id="rId4" Type="http://schemas.openxmlformats.org/officeDocument/2006/relationships/image" Target="../media/image6.png"/><Relationship Id="rId9" Type="http://schemas.openxmlformats.org/officeDocument/2006/relationships/image" Target="../media/image11.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14.xml"/><Relationship Id="rId7" Type="http://schemas.openxmlformats.org/officeDocument/2006/relationships/diagramQuickStyle" Target="../diagrams/quickStyle1.xml"/><Relationship Id="rId2" Type="http://schemas.openxmlformats.org/officeDocument/2006/relationships/customXml" Target="../../customXml/item17.xml"/><Relationship Id="rId1" Type="http://schemas.openxmlformats.org/officeDocument/2006/relationships/tags" Target="../tags/tag10.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notesSlide" Target="../notesSlides/notesSlide3.xml"/><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14.xml"/><Relationship Id="rId7" Type="http://schemas.openxmlformats.org/officeDocument/2006/relationships/diagramQuickStyle" Target="../diagrams/quickStyle2.xml"/><Relationship Id="rId2" Type="http://schemas.openxmlformats.org/officeDocument/2006/relationships/customXml" Target="../../customXml/item8.xml"/><Relationship Id="rId1" Type="http://schemas.openxmlformats.org/officeDocument/2006/relationships/tags" Target="../tags/tag11.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notesSlide" Target="../notesSlides/notesSlide4.xml"/><Relationship Id="rId9" Type="http://schemas.microsoft.com/office/2007/relationships/diagramDrawing" Target="../diagrams/drawing2.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slideLayout" Target="../slideLayouts/slideLayout14.xml"/><Relationship Id="rId7" Type="http://schemas.openxmlformats.org/officeDocument/2006/relationships/diagramQuickStyle" Target="../diagrams/quickStyle3.xml"/><Relationship Id="rId2" Type="http://schemas.openxmlformats.org/officeDocument/2006/relationships/customXml" Target="../../customXml/item1.xml"/><Relationship Id="rId1" Type="http://schemas.openxmlformats.org/officeDocument/2006/relationships/tags" Target="../tags/tag12.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notesSlide" Target="../notesSlides/notesSlide5.xml"/><Relationship Id="rId9" Type="http://schemas.microsoft.com/office/2007/relationships/diagramDrawing" Target="../diagrams/drawing3.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slideLayout" Target="../slideLayouts/slideLayout14.xml"/><Relationship Id="rId7" Type="http://schemas.openxmlformats.org/officeDocument/2006/relationships/diagramQuickStyle" Target="../diagrams/quickStyle4.xml"/><Relationship Id="rId2" Type="http://schemas.openxmlformats.org/officeDocument/2006/relationships/customXml" Target="../../customXml/item21.xml"/><Relationship Id="rId1" Type="http://schemas.openxmlformats.org/officeDocument/2006/relationships/tags" Target="../tags/tag13.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notesSlide" Target="../notesSlides/notesSlide6.xml"/><Relationship Id="rId9" Type="http://schemas.microsoft.com/office/2007/relationships/diagramDrawing" Target="../diagrams/drawing4.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slideLayout" Target="../slideLayouts/slideLayout14.xml"/><Relationship Id="rId7" Type="http://schemas.openxmlformats.org/officeDocument/2006/relationships/diagramQuickStyle" Target="../diagrams/quickStyle5.xml"/><Relationship Id="rId2" Type="http://schemas.openxmlformats.org/officeDocument/2006/relationships/customXml" Target="../../customXml/item16.xml"/><Relationship Id="rId1" Type="http://schemas.openxmlformats.org/officeDocument/2006/relationships/tags" Target="../tags/tag14.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notesSlide" Target="../notesSlides/notesSlide7.xml"/><Relationship Id="rId9" Type="http://schemas.microsoft.com/office/2007/relationships/diagramDrawing" Target="../diagrams/drawing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custDataLst>
              <p:custData r:id="rId2"/>
            </p:custDataLst>
          </p:nvPr>
        </p:nvSpPr>
        <p:spPr>
          <a:xfrm>
            <a:off x="566184" y="2462320"/>
            <a:ext cx="4352925" cy="1097280"/>
          </a:xfrm>
        </p:spPr>
        <p:txBody>
          <a:bodyPr/>
          <a:lstStyle/>
          <a:p>
            <a:pPr algn="ctr"/>
            <a:r>
              <a:rPr lang="en-US" dirty="0"/>
              <a:t>WorkshopPLUS – </a:t>
            </a:r>
            <a:br>
              <a:rPr lang="en-US" dirty="0"/>
            </a:br>
            <a:r>
              <a:rPr lang="en-US" dirty="0"/>
              <a:t>SQL Server: Performance Tuning and Optimization</a:t>
            </a:r>
          </a:p>
        </p:txBody>
      </p:sp>
      <p:pic>
        <p:nvPicPr>
          <p:cNvPr id="148" name="Ofc17_Amelia_006" descr="Young, small business female with journal in modern workplace. ">
            <a:extLst>
              <a:ext uri="{FF2B5EF4-FFF2-40B4-BE49-F238E27FC236}">
                <a16:creationId xmlns:a16="http://schemas.microsoft.com/office/drawing/2014/main" id="{73B1218B-F53A-4144-81D3-6E72572D50BE}"/>
              </a:ext>
            </a:extLst>
          </p:cNvPr>
          <p:cNvPicPr>
            <a:picLocks noGrp="1" noChangeAspect="1"/>
          </p:cNvPicPr>
          <p:nvPr>
            <p:ph type="pic" sz="quarter" idx="17"/>
            <p:custDataLst>
              <p:tags r:id="rId3"/>
            </p:custDataLst>
          </p:nvPr>
        </p:nvPicPr>
        <p:blipFill rotWithShape="1">
          <a:blip r:embed="rId7" cstate="screen">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p:pic>
      <p:graphicFrame>
        <p:nvGraphicFramePr>
          <p:cNvPr id="132" name="Table 132" descr="learn how to code">
            <a:extLst>
              <a:ext uri="{FF2B5EF4-FFF2-40B4-BE49-F238E27FC236}">
                <a16:creationId xmlns:a16="http://schemas.microsoft.com/office/drawing/2014/main" id="{602854A3-B709-4893-A7A7-ECA5177FAE28}"/>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882065307"/>
              </p:ext>
            </p:extLst>
          </p:nvPr>
        </p:nvGraphicFramePr>
        <p:xfrm>
          <a:off x="6852602" y="2119594"/>
          <a:ext cx="3820159" cy="2661493"/>
        </p:xfrm>
        <a:graphic>
          <a:graphicData uri="http://schemas.openxmlformats.org/drawingml/2006/table">
            <a:tbl>
              <a:tblPr firstRow="1" bandRow="1">
                <a:tableStyleId>{2D5ABB26-0587-4C30-8999-92F81FD0307C}</a:tableStyleId>
              </a:tblPr>
              <a:tblGrid>
                <a:gridCol w="1095286">
                  <a:extLst>
                    <a:ext uri="{9D8B030D-6E8A-4147-A177-3AD203B41FA5}">
                      <a16:colId xmlns:a16="http://schemas.microsoft.com/office/drawing/2014/main" val="3725280439"/>
                    </a:ext>
                  </a:extLst>
                </a:gridCol>
                <a:gridCol w="1423824">
                  <a:extLst>
                    <a:ext uri="{9D8B030D-6E8A-4147-A177-3AD203B41FA5}">
                      <a16:colId xmlns:a16="http://schemas.microsoft.com/office/drawing/2014/main" val="3776563889"/>
                    </a:ext>
                  </a:extLst>
                </a:gridCol>
                <a:gridCol w="1301049">
                  <a:extLst>
                    <a:ext uri="{9D8B030D-6E8A-4147-A177-3AD203B41FA5}">
                      <a16:colId xmlns:a16="http://schemas.microsoft.com/office/drawing/2014/main" val="3832914547"/>
                    </a:ext>
                  </a:extLst>
                </a:gridCol>
              </a:tblGrid>
              <a:tr h="770313">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tc>
                  <a:txBody>
                    <a:bodyPr/>
                    <a:lstStyle/>
                    <a:p>
                      <a:pPr algn="l"/>
                      <a:endParaRPr lang="en-US">
                        <a:solidFill>
                          <a:schemeClr val="lt2"/>
                        </a:solidFill>
                        <a:latin typeface="Lucida Console" panose="020B0609040504020204" pitchFamily="49" charset="0"/>
                      </a:endParaRPr>
                    </a:p>
                  </a:txBody>
                  <a:tcPr marL="0" marR="0" marT="0" marB="0" anchor="b"/>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extLst>
                  <a:ext uri="{0D108BD9-81ED-4DB2-BD59-A6C34878D82A}">
                    <a16:rowId xmlns:a16="http://schemas.microsoft.com/office/drawing/2014/main" val="2957166933"/>
                  </a:ext>
                </a:extLst>
              </a:tr>
              <a:tr h="1195918">
                <a:tc vMerge="1">
                  <a:txBody>
                    <a:bodyPr/>
                    <a:lstStyle/>
                    <a:p>
                      <a:endParaRPr lang="en-US"/>
                    </a:p>
                  </a:txBody>
                  <a:tcPr/>
                </a:tc>
                <a:tc>
                  <a:txBody>
                    <a:bodyPr/>
                    <a:lstStyle/>
                    <a:p>
                      <a:pPr algn="ctr"/>
                      <a:r>
                        <a:rPr lang="en-US" sz="2400">
                          <a:solidFill>
                            <a:schemeClr val="lt2"/>
                          </a:solidFill>
                          <a:latin typeface="Lucida Console" panose="020B0609040504020204" pitchFamily="49" charset="0"/>
                        </a:rPr>
                        <a:t>SQL Server</a:t>
                      </a:r>
                    </a:p>
                  </a:txBody>
                  <a:tcPr marL="0" marR="0" marT="0" marB="0" anchor="ctr" anchorCtr="1"/>
                </a:tc>
                <a:tc vMerge="1">
                  <a:txBody>
                    <a:bodyPr/>
                    <a:lstStyle/>
                    <a:p>
                      <a:endParaRPr lang="en-US"/>
                    </a:p>
                  </a:txBody>
                  <a:tcPr/>
                </a:tc>
                <a:extLst>
                  <a:ext uri="{0D108BD9-81ED-4DB2-BD59-A6C34878D82A}">
                    <a16:rowId xmlns:a16="http://schemas.microsoft.com/office/drawing/2014/main" val="4039752142"/>
                  </a:ext>
                </a:extLst>
              </a:tr>
              <a:tr h="695262">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a:solidFill>
                          <a:schemeClr val="lt2"/>
                        </a:solidFill>
                        <a:latin typeface="Lucida Console" panose="020B0609040504020204" pitchFamily="49" charset="0"/>
                      </a:endParaRPr>
                    </a:p>
                  </a:txBody>
                  <a:tcPr marL="0" marR="0" marT="0" marB="0"/>
                </a:tc>
                <a:tc vMerge="1">
                  <a:txBody>
                    <a:bodyPr/>
                    <a:lstStyle/>
                    <a:p>
                      <a:endParaRPr lang="en-US"/>
                    </a:p>
                  </a:txBody>
                  <a:tcPr/>
                </a:tc>
                <a:extLst>
                  <a:ext uri="{0D108BD9-81ED-4DB2-BD59-A6C34878D82A}">
                    <a16:rowId xmlns:a16="http://schemas.microsoft.com/office/drawing/2014/main" val="98409283"/>
                  </a:ext>
                </a:extLst>
              </a:tr>
            </a:tbl>
          </a:graphicData>
        </a:graphic>
      </p:graphicFrame>
      <p:sp>
        <p:nvSpPr>
          <p:cNvPr id="7" name="Rectangle 6">
            <a:extLst>
              <a:ext uri="{FF2B5EF4-FFF2-40B4-BE49-F238E27FC236}">
                <a16:creationId xmlns:a16="http://schemas.microsoft.com/office/drawing/2014/main" id="{D3EAAD9A-76BF-48B0-A6BF-A24D0A8C5A8F}"/>
              </a:ext>
              <a:ext uri="{C183D7F6-B498-43B3-948B-1728B52AA6E4}">
                <adec:decorative xmlns:adec="http://schemas.microsoft.com/office/drawing/2017/decorative" val="1"/>
              </a:ext>
            </a:extLst>
          </p:cNvPr>
          <p:cNvSpPr/>
          <p:nvPr/>
        </p:nvSpPr>
        <p:spPr bwMode="auto">
          <a:xfrm>
            <a:off x="5333682" y="349"/>
            <a:ext cx="6857999" cy="6861175"/>
          </a:xfrm>
          <a:prstGeom prst="rect">
            <a:avLst/>
          </a:pr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3930B2BC-E279-9244-E67F-18C6580CC376}"/>
              </a:ext>
            </a:extLst>
          </p:cNvPr>
          <p:cNvSpPr txBox="1">
            <a:spLocks/>
          </p:cNvSpPr>
          <p:nvPr>
            <p:custDataLst>
              <p:custData r:id="rId4"/>
            </p:custDataLst>
          </p:nvPr>
        </p:nvSpPr>
        <p:spPr>
          <a:xfrm>
            <a:off x="319809" y="4454192"/>
            <a:ext cx="4845674" cy="1097280"/>
          </a:xfrm>
          <a:prstGeom prst="rect">
            <a:avLst/>
          </a:prstGeom>
          <a:ln>
            <a:noFill/>
          </a:ln>
        </p:spPr>
        <p:txBody>
          <a:bodyPr vert="horz" wrap="square" lIns="0" tIns="0" rIns="0" bIns="45720" rtlCol="0" anchor="b">
            <a:noAutofit/>
          </a:bodyPr>
          <a:lstStyle>
            <a:lvl1pPr algn="l" defTabSz="932742" rtl="0" eaLnBrk="1" latinLnBrk="0" hangingPunct="1">
              <a:lnSpc>
                <a:spcPts val="3620"/>
              </a:lnSpc>
              <a:spcBef>
                <a:spcPct val="0"/>
              </a:spcBef>
              <a:buNone/>
              <a:defRPr lang="en-GB" sz="3600" b="0" kern="1200" cap="none" spc="-50" baseline="0">
                <a:ln w="3175">
                  <a:noFill/>
                </a:ln>
                <a:solidFill>
                  <a:schemeClr val="tx1"/>
                </a:solidFill>
                <a:effectLst/>
                <a:latin typeface="+mj-lt"/>
                <a:ea typeface="+mn-ea"/>
                <a:cs typeface="Segoe UI" pitchFamily="34" charset="0"/>
              </a:defRPr>
            </a:lvl1pPr>
          </a:lstStyle>
          <a:p>
            <a:pPr algn="ctr"/>
            <a:r>
              <a:rPr lang="en-US" dirty="0"/>
              <a:t>Epicor</a:t>
            </a:r>
          </a:p>
          <a:p>
            <a:pPr algn="ctr"/>
            <a:r>
              <a:rPr lang="en-US" dirty="0"/>
              <a:t>November 14</a:t>
            </a:r>
            <a:r>
              <a:rPr lang="en-US" baseline="30000" dirty="0"/>
              <a:t>th</a:t>
            </a:r>
            <a:r>
              <a:rPr lang="en-US" dirty="0"/>
              <a:t> – 17th</a:t>
            </a:r>
          </a:p>
          <a:p>
            <a:pPr algn="ctr"/>
            <a:r>
              <a:rPr lang="en-US" dirty="0"/>
              <a:t>9:00 am – 3:00 pm EST</a:t>
            </a:r>
          </a:p>
        </p:txBody>
      </p:sp>
    </p:spTree>
    <p:custDataLst>
      <p:tags r:id="rId1"/>
    </p:custDataLst>
    <p:extLst>
      <p:ext uri="{BB962C8B-B14F-4D97-AF65-F5344CB8AC3E}">
        <p14:creationId xmlns:p14="http://schemas.microsoft.com/office/powerpoint/2010/main" val="62941591"/>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title"/>
          </p:nvPr>
        </p:nvSpPr>
        <p:spPr/>
        <p:txBody>
          <a:bodyPr/>
          <a:lstStyle/>
          <a:p>
            <a:r>
              <a:rPr lang="en-US" dirty="0"/>
              <a:t>Lab environment</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body" sz="quarter" idx="10"/>
          </p:nvPr>
        </p:nvSpPr>
        <p:spPr>
          <a:xfrm>
            <a:off x="655638" y="2802023"/>
            <a:ext cx="4352925" cy="2643188"/>
          </a:xfrm>
        </p:spPr>
        <p:txBody>
          <a:bodyPr/>
          <a:lstStyle/>
          <a:p>
            <a:pPr lvl="0"/>
            <a:r>
              <a:rPr lang="en-US" dirty="0"/>
              <a:t>Lab Instructions are shown on the right side of the virtual machine. </a:t>
            </a:r>
          </a:p>
        </p:txBody>
      </p:sp>
      <p:sp>
        <p:nvSpPr>
          <p:cNvPr id="6" name="Picture Placeholder 5">
            <a:extLst>
              <a:ext uri="{FF2B5EF4-FFF2-40B4-BE49-F238E27FC236}">
                <a16:creationId xmlns:a16="http://schemas.microsoft.com/office/drawing/2014/main" id="{99F4DD2A-D147-4C8D-821D-32073CCCB49A}"/>
              </a:ext>
              <a:ext uri="{C183D7F6-B498-43B3-948B-1728B52AA6E4}">
                <adec:decorative xmlns:adec="http://schemas.microsoft.com/office/drawing/2017/decorative" val="1"/>
              </a:ext>
            </a:extLst>
          </p:cNvPr>
          <p:cNvSpPr>
            <a:spLocks noGrp="1"/>
          </p:cNvSpPr>
          <p:nvPr>
            <p:ph type="pic" sz="quarter" idx="15"/>
          </p:nvPr>
        </p:nvSpPr>
        <p:spPr/>
      </p:sp>
      <p:pic>
        <p:nvPicPr>
          <p:cNvPr id="3" name="Picture 2">
            <a:extLst>
              <a:ext uri="{FF2B5EF4-FFF2-40B4-BE49-F238E27FC236}">
                <a16:creationId xmlns:a16="http://schemas.microsoft.com/office/drawing/2014/main" id="{0993AE0D-15BD-47C9-8F74-23D6091FF1DA}"/>
              </a:ext>
            </a:extLst>
          </p:cNvPr>
          <p:cNvPicPr>
            <a:picLocks noChangeAspect="1"/>
          </p:cNvPicPr>
          <p:nvPr/>
        </p:nvPicPr>
        <p:blipFill>
          <a:blip r:embed="rId4"/>
          <a:stretch>
            <a:fillRect/>
          </a:stretch>
        </p:blipFill>
        <p:spPr>
          <a:xfrm>
            <a:off x="6907369" y="922067"/>
            <a:ext cx="3711262" cy="4724809"/>
          </a:xfrm>
          <a:prstGeom prst="rect">
            <a:avLst/>
          </a:prstGeom>
        </p:spPr>
      </p:pic>
      <p:sp>
        <p:nvSpPr>
          <p:cNvPr id="2" name="Rectangle 1">
            <a:extLst>
              <a:ext uri="{FF2B5EF4-FFF2-40B4-BE49-F238E27FC236}">
                <a16:creationId xmlns:a16="http://schemas.microsoft.com/office/drawing/2014/main" id="{FED64B6B-D2DA-42DA-8B3E-A94CFC916144}"/>
              </a:ext>
            </a:extLst>
          </p:cNvPr>
          <p:cNvSpPr/>
          <p:nvPr/>
        </p:nvSpPr>
        <p:spPr bwMode="auto">
          <a:xfrm>
            <a:off x="6907369" y="922066"/>
            <a:ext cx="907452" cy="463673"/>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224727163"/>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title"/>
          </p:nvPr>
        </p:nvSpPr>
        <p:spPr/>
        <p:txBody>
          <a:bodyPr/>
          <a:lstStyle/>
          <a:p>
            <a:r>
              <a:rPr lang="en-US" dirty="0"/>
              <a:t>Lab environment </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body" sz="quarter" idx="10"/>
          </p:nvPr>
        </p:nvSpPr>
        <p:spPr>
          <a:xfrm>
            <a:off x="730734" y="2773743"/>
            <a:ext cx="4352925" cy="2643188"/>
          </a:xfrm>
        </p:spPr>
        <p:txBody>
          <a:bodyPr/>
          <a:lstStyle/>
          <a:p>
            <a:pPr lvl="0"/>
            <a:r>
              <a:rPr lang="en-US" dirty="0"/>
              <a:t>Use the </a:t>
            </a:r>
            <a:r>
              <a:rPr lang="en-US" dirty="0" err="1"/>
              <a:t>Ctrl+Alt+Delete</a:t>
            </a:r>
            <a:r>
              <a:rPr lang="en-US" dirty="0"/>
              <a:t> button to logon to the virtual machine.</a:t>
            </a:r>
          </a:p>
          <a:p>
            <a:pPr lvl="0"/>
            <a:endParaRPr lang="en-US" dirty="0"/>
          </a:p>
          <a:p>
            <a:pPr lvl="0"/>
            <a:r>
              <a:rPr lang="en-US" dirty="0"/>
              <a:t>You can click on the </a:t>
            </a:r>
            <a:r>
              <a:rPr lang="en-US" dirty="0">
                <a:solidFill>
                  <a:schemeClr val="accent4">
                    <a:lumMod val="60000"/>
                    <a:lumOff val="40000"/>
                  </a:schemeClr>
                </a:solidFill>
              </a:rPr>
              <a:t>T</a:t>
            </a:r>
            <a:r>
              <a:rPr lang="en-US" dirty="0"/>
              <a:t> next to Username and Password to paste in the virtual machine.</a:t>
            </a:r>
          </a:p>
        </p:txBody>
      </p:sp>
      <p:sp>
        <p:nvSpPr>
          <p:cNvPr id="6" name="Picture Placeholder 5">
            <a:extLst>
              <a:ext uri="{FF2B5EF4-FFF2-40B4-BE49-F238E27FC236}">
                <a16:creationId xmlns:a16="http://schemas.microsoft.com/office/drawing/2014/main" id="{99F4DD2A-D147-4C8D-821D-32073CCCB49A}"/>
              </a:ext>
              <a:ext uri="{C183D7F6-B498-43B3-948B-1728B52AA6E4}">
                <adec:decorative xmlns:adec="http://schemas.microsoft.com/office/drawing/2017/decorative" val="1"/>
              </a:ext>
            </a:extLst>
          </p:cNvPr>
          <p:cNvSpPr>
            <a:spLocks noGrp="1"/>
          </p:cNvSpPr>
          <p:nvPr>
            <p:ph type="pic" sz="quarter" idx="15"/>
          </p:nvPr>
        </p:nvSpPr>
        <p:spPr/>
      </p:sp>
      <p:pic>
        <p:nvPicPr>
          <p:cNvPr id="10" name="Picture 9">
            <a:extLst>
              <a:ext uri="{FF2B5EF4-FFF2-40B4-BE49-F238E27FC236}">
                <a16:creationId xmlns:a16="http://schemas.microsoft.com/office/drawing/2014/main" id="{BAD82A94-7FF3-4240-9DD3-AAFB41E7B36E}"/>
              </a:ext>
            </a:extLst>
          </p:cNvPr>
          <p:cNvPicPr>
            <a:picLocks noChangeAspect="1"/>
          </p:cNvPicPr>
          <p:nvPr/>
        </p:nvPicPr>
        <p:blipFill>
          <a:blip r:embed="rId4"/>
          <a:stretch>
            <a:fillRect/>
          </a:stretch>
        </p:blipFill>
        <p:spPr>
          <a:xfrm>
            <a:off x="7028898" y="2202073"/>
            <a:ext cx="3696020" cy="2453853"/>
          </a:xfrm>
          <a:prstGeom prst="rect">
            <a:avLst/>
          </a:prstGeom>
        </p:spPr>
      </p:pic>
      <p:sp>
        <p:nvSpPr>
          <p:cNvPr id="12" name="Rectangle 11">
            <a:extLst>
              <a:ext uri="{FF2B5EF4-FFF2-40B4-BE49-F238E27FC236}">
                <a16:creationId xmlns:a16="http://schemas.microsoft.com/office/drawing/2014/main" id="{21F6AC04-3896-4C88-BDA4-E68F124F32DC}"/>
              </a:ext>
            </a:extLst>
          </p:cNvPr>
          <p:cNvSpPr/>
          <p:nvPr/>
        </p:nvSpPr>
        <p:spPr bwMode="auto">
          <a:xfrm>
            <a:off x="7821770" y="2112987"/>
            <a:ext cx="907452" cy="463673"/>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838357464"/>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679F2-02A3-45D6-B5C7-23FD3301CC2E}"/>
              </a:ext>
            </a:extLst>
          </p:cNvPr>
          <p:cNvSpPr>
            <a:spLocks noGrp="1"/>
          </p:cNvSpPr>
          <p:nvPr>
            <p:ph type="title"/>
          </p:nvPr>
        </p:nvSpPr>
        <p:spPr/>
        <p:txBody>
          <a:bodyPr/>
          <a:lstStyle/>
          <a:p>
            <a:r>
              <a:rPr lang="en-US" dirty="0"/>
              <a:t>Lab Time Remaining</a:t>
            </a:r>
          </a:p>
        </p:txBody>
      </p:sp>
      <p:sp>
        <p:nvSpPr>
          <p:cNvPr id="3" name="Text Placeholder 2">
            <a:extLst>
              <a:ext uri="{FF2B5EF4-FFF2-40B4-BE49-F238E27FC236}">
                <a16:creationId xmlns:a16="http://schemas.microsoft.com/office/drawing/2014/main" id="{8D97F1AA-8831-46A6-999A-E30ADE311DBF}"/>
              </a:ext>
            </a:extLst>
          </p:cNvPr>
          <p:cNvSpPr>
            <a:spLocks noGrp="1"/>
          </p:cNvSpPr>
          <p:nvPr>
            <p:ph type="body" sz="quarter" idx="10"/>
          </p:nvPr>
        </p:nvSpPr>
        <p:spPr>
          <a:xfrm>
            <a:off x="655638" y="2339271"/>
            <a:ext cx="4352925" cy="3269304"/>
          </a:xfrm>
        </p:spPr>
        <p:txBody>
          <a:bodyPr/>
          <a:lstStyle/>
          <a:p>
            <a:pPr marL="342900" indent="-342900">
              <a:buFont typeface="Arial" panose="020B0604020202020204" pitchFamily="34" charset="0"/>
              <a:buChar char="•"/>
            </a:pPr>
            <a:r>
              <a:rPr lang="en-US" dirty="0"/>
              <a:t>Ensure you select </a:t>
            </a:r>
            <a:r>
              <a:rPr lang="en-US" b="1" dirty="0"/>
              <a:t>Save</a:t>
            </a:r>
            <a:r>
              <a:rPr lang="en-US" dirty="0"/>
              <a:t> before leaving the Lab environment.  </a:t>
            </a:r>
          </a:p>
          <a:p>
            <a:pPr marL="342900" indent="-342900">
              <a:buFont typeface="Arial" panose="020B0604020202020204" pitchFamily="34" charset="0"/>
              <a:buChar char="•"/>
            </a:pPr>
            <a:r>
              <a:rPr lang="en-US" dirty="0"/>
              <a:t>You can save up to 5 labs for up to 7 days. </a:t>
            </a:r>
          </a:p>
          <a:p>
            <a:pPr marL="342900" indent="-342900">
              <a:buFont typeface="Arial" panose="020B0604020202020204" pitchFamily="34" charset="0"/>
              <a:buChar char="•"/>
            </a:pPr>
            <a:r>
              <a:rPr lang="en-US" dirty="0"/>
              <a:t>The lab environment is available for 180 days.</a:t>
            </a:r>
          </a:p>
          <a:p>
            <a:pPr marL="342900" indent="-342900">
              <a:buFont typeface="Arial" panose="020B0604020202020204" pitchFamily="34" charset="0"/>
              <a:buChar char="•"/>
            </a:pPr>
            <a:r>
              <a:rPr lang="en-US" dirty="0"/>
              <a:t>Split Windows will allow you to move the instructions to a separate screen.</a:t>
            </a:r>
          </a:p>
        </p:txBody>
      </p:sp>
      <p:sp>
        <p:nvSpPr>
          <p:cNvPr id="9" name="Picture Placeholder 8">
            <a:extLst>
              <a:ext uri="{FF2B5EF4-FFF2-40B4-BE49-F238E27FC236}">
                <a16:creationId xmlns:a16="http://schemas.microsoft.com/office/drawing/2014/main" id="{74F5144A-51FD-4A09-A25E-51FE619C822D}"/>
              </a:ext>
              <a:ext uri="{C183D7F6-B498-43B3-948B-1728B52AA6E4}">
                <adec:decorative xmlns:adec="http://schemas.microsoft.com/office/drawing/2017/decorative" val="1"/>
              </a:ext>
            </a:extLst>
          </p:cNvPr>
          <p:cNvSpPr>
            <a:spLocks noGrp="1"/>
          </p:cNvSpPr>
          <p:nvPr>
            <p:ph type="pic" sz="quarter" idx="15"/>
          </p:nvPr>
        </p:nvSpPr>
        <p:spPr>
          <a:xfrm>
            <a:off x="5314711" y="-45850"/>
            <a:ext cx="6858000" cy="6858000"/>
          </a:xfrm>
        </p:spPr>
      </p:sp>
      <p:pic>
        <p:nvPicPr>
          <p:cNvPr id="8" name="Picture 7">
            <a:extLst>
              <a:ext uri="{FF2B5EF4-FFF2-40B4-BE49-F238E27FC236}">
                <a16:creationId xmlns:a16="http://schemas.microsoft.com/office/drawing/2014/main" id="{48E15E85-2B66-42F0-8B5B-F39C3283A49A}"/>
              </a:ext>
            </a:extLst>
          </p:cNvPr>
          <p:cNvPicPr>
            <a:picLocks noChangeAspect="1"/>
          </p:cNvPicPr>
          <p:nvPr/>
        </p:nvPicPr>
        <p:blipFill>
          <a:blip r:embed="rId4"/>
          <a:stretch>
            <a:fillRect/>
          </a:stretch>
        </p:blipFill>
        <p:spPr>
          <a:xfrm>
            <a:off x="7002423" y="2339271"/>
            <a:ext cx="3711262" cy="1569856"/>
          </a:xfrm>
          <a:prstGeom prst="rect">
            <a:avLst/>
          </a:prstGeom>
        </p:spPr>
      </p:pic>
      <p:sp>
        <p:nvSpPr>
          <p:cNvPr id="6" name="Oval 5">
            <a:extLst>
              <a:ext uri="{FF2B5EF4-FFF2-40B4-BE49-F238E27FC236}">
                <a16:creationId xmlns:a16="http://schemas.microsoft.com/office/drawing/2014/main" id="{2D82C392-2F6A-4BED-B180-0C5DE3D7F8D8}"/>
              </a:ext>
              <a:ext uri="{C183D7F6-B498-43B3-948B-1728B52AA6E4}">
                <adec:decorative xmlns:adec="http://schemas.microsoft.com/office/drawing/2017/decorative" val="1"/>
              </a:ext>
            </a:extLst>
          </p:cNvPr>
          <p:cNvSpPr/>
          <p:nvPr/>
        </p:nvSpPr>
        <p:spPr bwMode="auto">
          <a:xfrm>
            <a:off x="8858054" y="2137799"/>
            <a:ext cx="2167588" cy="2149182"/>
          </a:xfrm>
          <a:prstGeom prst="ellipse">
            <a:avLst/>
          </a:prstGeom>
          <a:noFill/>
          <a:ln w="57150" cap="flat" cmpd="sng" algn="ctr">
            <a:solidFill>
              <a:schemeClr val="accent3"/>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132161427"/>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effectLst/>
      </p:bgPr>
    </p:bg>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5001860"/>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5879" y="4566703"/>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875501" y="694671"/>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Data &amp; A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524"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57242" y="4566703"/>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20606" y="4566703"/>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77881" y="4544387"/>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Microsoft Certified: Power BI Data Analyst Associate">
            <a:extLst>
              <a:ext uri="{FF2B5EF4-FFF2-40B4-BE49-F238E27FC236}">
                <a16:creationId xmlns:a16="http://schemas.microsoft.com/office/drawing/2014/main" id="{40A651BF-D797-DD9E-6920-65F715A689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49244" y="4544387"/>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4549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a:t>Agenda Day 1</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36127258"/>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2 </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604427499"/>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3</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2473802032"/>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45311848"/>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4</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nvGraphicFramePr>
        <p:xfrm>
          <a:off x="415105" y="1002914"/>
          <a:ext cx="11361792" cy="55978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1190243446"/>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dditional Review</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nvGraphicFramePr>
        <p:xfrm>
          <a:off x="415105" y="1002914"/>
          <a:ext cx="11361792" cy="55978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4142953922"/>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ctrTitle"/>
          </p:nvPr>
        </p:nvSpPr>
        <p:spPr>
          <a:xfrm>
            <a:off x="889207" y="1865631"/>
            <a:ext cx="4352925" cy="1097280"/>
          </a:xfrm>
        </p:spPr>
        <p:txBody>
          <a:bodyPr wrap="square" anchor="b">
            <a:normAutofit/>
          </a:bodyPr>
          <a:lstStyle/>
          <a:p>
            <a:r>
              <a:rPr lang="en-US" dirty="0"/>
              <a:t>Class Resources</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subTitle" idx="1"/>
          </p:nvPr>
        </p:nvSpPr>
        <p:spPr>
          <a:xfrm>
            <a:off x="889207" y="3254015"/>
            <a:ext cx="4352924" cy="1365067"/>
          </a:xfrm>
        </p:spPr>
        <p:txBody>
          <a:bodyPr>
            <a:normAutofit/>
          </a:bodyPr>
          <a:lstStyle/>
          <a:p>
            <a:pPr lvl="0">
              <a:lnSpc>
                <a:spcPct val="90000"/>
              </a:lnSpc>
            </a:pPr>
            <a:r>
              <a:rPr lang="en-AU" dirty="0"/>
              <a:t>Virtual Lab Environment, Slides Decks, Lab Manuals, and Demo Files</a:t>
            </a:r>
            <a:endParaRPr lang="en-US" dirty="0"/>
          </a:p>
        </p:txBody>
      </p:sp>
      <p:pic>
        <p:nvPicPr>
          <p:cNvPr id="3" name="Picture 2">
            <a:extLst>
              <a:ext uri="{FF2B5EF4-FFF2-40B4-BE49-F238E27FC236}">
                <a16:creationId xmlns:a16="http://schemas.microsoft.com/office/drawing/2014/main" id="{6BBDC9CD-81C6-4822-94A2-FC3E4A0638D3}"/>
              </a:ext>
            </a:extLst>
          </p:cNvPr>
          <p:cNvPicPr>
            <a:picLocks noChangeAspect="1"/>
          </p:cNvPicPr>
          <p:nvPr/>
        </p:nvPicPr>
        <p:blipFill>
          <a:blip r:embed="rId4"/>
          <a:stretch>
            <a:fillRect/>
          </a:stretch>
        </p:blipFill>
        <p:spPr>
          <a:xfrm>
            <a:off x="6605796" y="792095"/>
            <a:ext cx="4352924" cy="5273810"/>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Tree>
    <p:custDataLst>
      <p:tags r:id="rId1"/>
    </p:custDataLst>
    <p:extLst>
      <p:ext uri="{BB962C8B-B14F-4D97-AF65-F5344CB8AC3E}">
        <p14:creationId xmlns:p14="http://schemas.microsoft.com/office/powerpoint/2010/main" val="1131327606"/>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ctrTitle"/>
          </p:nvPr>
        </p:nvSpPr>
        <p:spPr/>
        <p:txBody>
          <a:bodyPr wrap="square" anchor="b">
            <a:normAutofit/>
          </a:bodyPr>
          <a:lstStyle/>
          <a:p>
            <a:r>
              <a:rPr lang="en-US"/>
              <a:t>Launch Lab</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subTitle" idx="1"/>
          </p:nvPr>
        </p:nvSpPr>
        <p:spPr/>
        <p:txBody>
          <a:bodyPr>
            <a:normAutofit/>
          </a:bodyPr>
          <a:lstStyle/>
          <a:p>
            <a:pPr lvl="0">
              <a:lnSpc>
                <a:spcPct val="90000"/>
              </a:lnSpc>
            </a:pPr>
            <a:r>
              <a:rPr lang="en-AU"/>
              <a:t>In the Labs section, click Launch</a:t>
            </a:r>
            <a:endParaRPr lang="en-US"/>
          </a:p>
        </p:txBody>
      </p:sp>
      <p:pic>
        <p:nvPicPr>
          <p:cNvPr id="8" name="Picture 7">
            <a:extLst>
              <a:ext uri="{FF2B5EF4-FFF2-40B4-BE49-F238E27FC236}">
                <a16:creationId xmlns:a16="http://schemas.microsoft.com/office/drawing/2014/main" id="{153A18D7-D396-40C5-B3E7-80B50F50E74F}"/>
              </a:ext>
            </a:extLst>
          </p:cNvPr>
          <p:cNvPicPr>
            <a:picLocks noChangeAspect="1"/>
          </p:cNvPicPr>
          <p:nvPr/>
        </p:nvPicPr>
        <p:blipFill>
          <a:blip r:embed="rId4"/>
          <a:stretch>
            <a:fillRect/>
          </a:stretch>
        </p:blipFill>
        <p:spPr>
          <a:xfrm>
            <a:off x="4886209" y="1818513"/>
            <a:ext cx="6858000" cy="3531870"/>
          </a:xfrm>
          <a:prstGeom prst="rect">
            <a:avLst/>
          </a:prstGeom>
          <a:noFill/>
        </p:spPr>
      </p:pic>
      <p:sp>
        <p:nvSpPr>
          <p:cNvPr id="2" name="Rectangle 1">
            <a:extLst>
              <a:ext uri="{FF2B5EF4-FFF2-40B4-BE49-F238E27FC236}">
                <a16:creationId xmlns:a16="http://schemas.microsoft.com/office/drawing/2014/main" id="{4A26C164-A529-4CA0-9208-A666A2A7ADF7}"/>
              </a:ext>
            </a:extLst>
          </p:cNvPr>
          <p:cNvSpPr/>
          <p:nvPr/>
        </p:nvSpPr>
        <p:spPr bwMode="auto">
          <a:xfrm>
            <a:off x="6841381" y="3895090"/>
            <a:ext cx="1727583" cy="535508"/>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028897705"/>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ccca499f-6031-4249-9be5-05f0778e93f9"/>
  <p:tag name="MIO_EKGUID" val="4353de26-2592-4dae-b07b-ed26aeeb437e"/>
  <p:tag name="MIO_UPDATE" val="True"/>
  <p:tag name="MIO_VERSION" val="02.12.2019 14:58:10"/>
  <p:tag name="MIO_DBID" val="12b0c59e-2253-4124-a5e9-470adf4cb168"/>
  <p:tag name="MIO_LASTDOWNLOADED" val="24.01.2020 05:39:40"/>
  <p:tag name="MIO_OBJECTNAME" val="Agenda Day 2"/>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c328151a-ce6b-47fd-89fa-845a0dd837d1"/>
  <p:tag name="MIO_EKGUID" val="24314d8a-b69e-43cc-accd-5d0fcc7e79dc"/>
  <p:tag name="MIO_UPDATE" val="True"/>
  <p:tag name="MIO_VERSION" val="02.12.2019 14:58:10"/>
  <p:tag name="MIO_DBID" val="12b0c59e-2253-4124-a5e9-470adf4cb168"/>
  <p:tag name="MIO_LASTDOWNLOADED" val="24.01.2020 05:39:40"/>
  <p:tag name="MIO_OBJECTNAME" val="Agenda Day 3"/>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c328151a-ce6b-47fd-89fa-845a0dd837d1"/>
  <p:tag name="MIO_EKGUID" val="24314d8a-b69e-43cc-accd-5d0fcc7e79dc"/>
  <p:tag name="MIO_UPDATE" val="True"/>
  <p:tag name="MIO_VERSION" val="02.12.2019 14:58:10"/>
  <p:tag name="MIO_DBID" val="12b0c59e-2253-4124-a5e9-470adf4cb168"/>
  <p:tag name="MIO_LASTDOWNLOADED" val="24.01.2020 05:39:40"/>
  <p:tag name="MIO_OBJECTNAME" val="Agenda Day 3"/>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c328151a-ce6b-47fd-89fa-845a0dd837d1"/>
  <p:tag name="MIO_EKGUID" val="24314d8a-b69e-43cc-accd-5d0fcc7e79dc"/>
  <p:tag name="MIO_UPDATE" val="True"/>
  <p:tag name="MIO_VERSION" val="02.12.2019 14:58:10"/>
  <p:tag name="MIO_DBID" val="12b0c59e-2253-4124-a5e9-470adf4cb168"/>
  <p:tag name="MIO_LASTDOWNLOADED" val="24.01.2020 05:39:40"/>
  <p:tag name="MIO_OBJECTNAME" val="Agenda Day 3"/>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fc031707-9e97-4ccc-ae34-c0753b7f2591"/>
  <p:tag name="MIO_EKGUID" val="f41c490d-bfd7-4d3e-b6ca-ccefd6e145b4"/>
  <p:tag name="MIO_UPDATE" val="True"/>
  <p:tag name="MIO_VERSION" val="02.12.2019 14:58:12"/>
  <p:tag name="MIO_DBID" val="12b0c59e-2253-4124-a5e9-470adf4cb168"/>
  <p:tag name="MIO_LASTDOWNLOADED" val="24.01.2020 05:39:41"/>
  <p:tag name="MIO_OBJECTNAME" val="Launch Lab"/>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fc031707-9e97-4ccc-ae34-c0753b7f2591"/>
  <p:tag name="MIO_EKGUID" val="f41c490d-bfd7-4d3e-b6ca-ccefd6e145b4"/>
  <p:tag name="MIO_UPDATE" val="True"/>
  <p:tag name="MIO_VERSION" val="02.12.2019 14:58:12"/>
  <p:tag name="MIO_DBID" val="12b0c59e-2253-4124-a5e9-470adf4cb168"/>
  <p:tag name="MIO_LASTDOWNLOADED" val="24.01.2020 05:39:41"/>
  <p:tag name="MIO_OBJECTNAME" val="Launch Lab"/>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d67d861a-7109-424f-8337-d603a38d76f4"/>
  <p:tag name="MIO_EKGUID" val="801e3df6-faa9-4e68-af41-9e0f1ff861a4"/>
  <p:tag name="MIO_UPDATE" val="True"/>
  <p:tag name="MIO_VERSION" val="02.12.2019 14:58:12"/>
  <p:tag name="MIO_DBID" val="12b0c59e-2253-4124-a5e9-470adf4cb168"/>
  <p:tag name="MIO_LASTDOWNLOADED" val="24.01.2020 05:39:41"/>
  <p:tag name="MIO_OBJECTNAME" val="Lab environment LOD"/>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d67d861a-7109-424f-8337-d603a38d76f4"/>
  <p:tag name="MIO_EKGUID" val="801e3df6-faa9-4e68-af41-9e0f1ff861a4"/>
  <p:tag name="MIO_UPDATE" val="True"/>
  <p:tag name="MIO_VERSION" val="02.12.2019 14:58:12"/>
  <p:tag name="MIO_DBID" val="12b0c59e-2253-4124-a5e9-470adf4cb168"/>
  <p:tag name="MIO_LASTDOWNLOADED" val="24.01.2020 05:39:41"/>
  <p:tag name="MIO_OBJECTNAME" val="Lab environment LOD"/>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9ebde364-126f-4efc-bd5c-42053664fe49"/>
  <p:tag name="MIO_EKGUID" val="ab10b06e-61c1-467f-8508-e51efc0b4fac"/>
  <p:tag name="MIO_UPDATE" val="True"/>
  <p:tag name="MIO_VERSION" val="02.12.2019 14:58:12"/>
  <p:tag name="MIO_DBID" val="12b0c59e-2253-4124-a5e9-470adf4cb168"/>
  <p:tag name="MIO_LASTDOWNLOADED" val="24.01.2020 05:39:41"/>
  <p:tag name="MIO_OBJECTNAME" val="LOD LabTime Remaining"/>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eececc6f-ec1c-45f1-8758-6e452d38ddc5"/>
  <p:tag name="MIO_UPDATE" val="True"/>
  <p:tag name="MIO_VERSION" val="02.12.2019 14:58:10"/>
  <p:tag name="MIO_DBID" val="12b0c59e-2253-4124-a5e9-470adf4cb168"/>
  <p:tag name="MIO_LASTDOWNLOADED" val="24.01.2020 05:39:39"/>
  <p:tag name="MIO_OBJECTNAME" val="WorkshopPLUS - Windows PowerShell: Foundation Skill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eee481a8-d069-42c0-bbbf-c67080f0abbf"/>
  <p:tag name="MIO_GUID" val="a2d583d4-af09-4112-a730-c6147e1bd0c1"/>
  <p:tag name="MIO_UPDATE" val="True"/>
  <p:tag name="MIO_DBID" val="12B0C59E-2253-4124-A5E9-470ADF4CB168"/>
  <p:tag name="MIO_LASTDOWNLOADED" val="08.11.2019 12:17:16"/>
  <p:tag name="MIO_OBJECTNAME" val="Ofc17_Amelia_006"/>
  <p:tag name="MIO_LASTEDITORNAME" val="Rachael Jones"/>
</p:tagLst>
</file>

<file path=ppt/theme/theme1.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C5255A8D-0C00-4B8A-84C8-2D1E3BE522D5}" vid="{26D3A1E9-793B-4D33-BC1E-F8CD39BEFB35}"/>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8.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9.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C267FB-E2C4-4FBC-8A11-4697F399E9AE}">
  <ds:schemaRefs>
    <ds:schemaRef ds:uri="Strauss.PersonalizationDefinition"/>
  </ds:schemaRefs>
</ds:datastoreItem>
</file>

<file path=customXml/itemProps10.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11.xml><?xml version="1.0" encoding="utf-8"?>
<ds:datastoreItem xmlns:ds="http://schemas.openxmlformats.org/officeDocument/2006/customXml" ds:itemID="{5E06C96E-CC18-4EC4-9562-123609EAD6EA}">
  <ds:schemaRefs>
    <ds:schemaRef ds:uri="Strauss.PersonalizationDefinition"/>
  </ds:schemaRefs>
</ds:datastoreItem>
</file>

<file path=customXml/itemProps12.xml><?xml version="1.0" encoding="utf-8"?>
<ds:datastoreItem xmlns:ds="http://schemas.openxmlformats.org/officeDocument/2006/customXml" ds:itemID="{38460639-82D3-47DD-9DC7-3EA280D46F3A}">
  <ds:schemaRefs>
    <ds:schemaRef ds:uri="Strauss.PersonalizationDefinition"/>
  </ds:schemaRefs>
</ds:datastoreItem>
</file>

<file path=customXml/itemProps13.xml><?xml version="1.0" encoding="utf-8"?>
<ds:datastoreItem xmlns:ds="http://schemas.openxmlformats.org/officeDocument/2006/customXml" ds:itemID="{A57E80AA-685B-4A33-A51E-808497E74448}">
  <ds:schemaRefs>
    <ds:schemaRef ds:uri="Strauss.PersonalizationDefinition"/>
  </ds:schemaRefs>
</ds:datastoreItem>
</file>

<file path=customXml/itemProps14.xml><?xml version="1.0" encoding="utf-8"?>
<ds:datastoreItem xmlns:ds="http://schemas.openxmlformats.org/officeDocument/2006/customXml" ds:itemID="{AF760E59-97AE-4538-B6A6-5DAE18A6CA97}">
  <ds:schemaRefs>
    <ds:schemaRef ds:uri="Strauss.PersonalizationDefinition"/>
  </ds:schemaRefs>
</ds:datastoreItem>
</file>

<file path=customXml/itemProps15.xml><?xml version="1.0" encoding="utf-8"?>
<ds:datastoreItem xmlns:ds="http://schemas.openxmlformats.org/officeDocument/2006/customXml" ds:itemID="{81A5550D-B138-4182-9A9D-4110A11BBE58}">
  <ds:schemaRefs>
    <ds:schemaRef ds:uri="Strauss.PersonalizationDefinition"/>
  </ds:schemaRefs>
</ds:datastoreItem>
</file>

<file path=customXml/itemProps16.xml><?xml version="1.0" encoding="utf-8"?>
<ds:datastoreItem xmlns:ds="http://schemas.openxmlformats.org/officeDocument/2006/customXml" ds:itemID="{853E5872-CA18-41A6-8DB0-847F12B746C6}">
  <ds:schemaRefs>
    <ds:schemaRef ds:uri="Strauss.PersonalizationDefinition"/>
  </ds:schemaRefs>
</ds:datastoreItem>
</file>

<file path=customXml/itemProps17.xml><?xml version="1.0" encoding="utf-8"?>
<ds:datastoreItem xmlns:ds="http://schemas.openxmlformats.org/officeDocument/2006/customXml" ds:itemID="{FCC244D9-33F6-4FCD-A1B3-A4ED5506EEDA}">
  <ds:schemaRefs>
    <ds:schemaRef ds:uri="Strauss.PersonalizationDefinition"/>
  </ds:schemaRefs>
</ds:datastoreItem>
</file>

<file path=customXml/itemProps18.xml><?xml version="1.0" encoding="utf-8"?>
<ds:datastoreItem xmlns:ds="http://schemas.openxmlformats.org/officeDocument/2006/customXml" ds:itemID="{73B6D0A6-C48D-49BD-A439-3788E7E33FC9}">
  <ds:schemaRefs>
    <ds:schemaRef ds:uri="Strauss.PersonalizationDefinition"/>
  </ds:schemaRefs>
</ds:datastoreItem>
</file>

<file path=customXml/itemProps19.xml><?xml version="1.0" encoding="utf-8"?>
<ds:datastoreItem xmlns:ds="http://schemas.openxmlformats.org/officeDocument/2006/customXml" ds:itemID="{6F485757-9F3C-4A1E-9E86-E1C1551910BA}">
  <ds:schemaRefs>
    <ds:schemaRef ds:uri="Strauss.PersonalizationDefinition"/>
  </ds:schemaRefs>
</ds:datastoreItem>
</file>

<file path=customXml/itemProps2.xml><?xml version="1.0" encoding="utf-8"?>
<ds:datastoreItem xmlns:ds="http://schemas.openxmlformats.org/officeDocument/2006/customXml" ds:itemID="{6B2F7B94-2B12-4A65-964B-9372138E0DC1}">
  <ds:schemaRefs>
    <ds:schemaRef ds:uri="Strauss.PersonalizationDefinition"/>
  </ds:schemaRefs>
</ds:datastoreItem>
</file>

<file path=customXml/itemProps20.xml><?xml version="1.0" encoding="utf-8"?>
<ds:datastoreItem xmlns:ds="http://schemas.openxmlformats.org/officeDocument/2006/customXml" ds:itemID="{B2274A60-1BB2-4B7C-B837-1F17CDA5AFC5}">
  <ds:schemaRefs>
    <ds:schemaRef ds:uri="Strauss.PersonalizationDefinition"/>
  </ds:schemaRefs>
</ds:datastoreItem>
</file>

<file path=customXml/itemProps21.xml><?xml version="1.0" encoding="utf-8"?>
<ds:datastoreItem xmlns:ds="http://schemas.openxmlformats.org/officeDocument/2006/customXml" ds:itemID="{B7DFE52E-ACAA-4E4C-A2AF-8ACEBF174CF2}">
  <ds:schemaRefs>
    <ds:schemaRef ds:uri="Strauss.PersonalizationDefinition"/>
  </ds:schemaRefs>
</ds:datastoreItem>
</file>

<file path=customXml/itemProps22.xml><?xml version="1.0" encoding="utf-8"?>
<ds:datastoreItem xmlns:ds="http://schemas.openxmlformats.org/officeDocument/2006/customXml" ds:itemID="{D959A07B-C49D-428D-B914-113B444FB5E7}">
  <ds:schemaRefs>
    <ds:schemaRef ds:uri="Strauss.PersonalizationDefinition"/>
  </ds:schemaRefs>
</ds:datastoreItem>
</file>

<file path=customXml/itemProps23.xml><?xml version="1.0" encoding="utf-8"?>
<ds:datastoreItem xmlns:ds="http://schemas.openxmlformats.org/officeDocument/2006/customXml" ds:itemID="{5288D834-DB30-4721-8C65-DF36F74AA0B8}">
  <ds:schemaRefs>
    <ds:schemaRef ds:uri="Strauss.PersonalizationDefinition"/>
  </ds:schemaRefs>
</ds:datastoreItem>
</file>

<file path=customXml/itemProps24.xml><?xml version="1.0" encoding="utf-8"?>
<ds:datastoreItem xmlns:ds="http://schemas.openxmlformats.org/officeDocument/2006/customXml" ds:itemID="{DF333A1B-0A9C-4DA8-ADAB-4378B69FDC48}">
  <ds:schemaRefs>
    <ds:schemaRef ds:uri="Strauss.PersonalizationDefinition"/>
  </ds:schemaRefs>
</ds:datastoreItem>
</file>

<file path=customXml/itemProps25.xml><?xml version="1.0" encoding="utf-8"?>
<ds:datastoreItem xmlns:ds="http://schemas.openxmlformats.org/officeDocument/2006/customXml" ds:itemID="{0FE3BEC7-794E-4535-B6C8-95844302AE27}">
  <ds:schemaRefs>
    <ds:schemaRef ds:uri="Strauss.PersonalizationDefinition"/>
  </ds:schemaRefs>
</ds:datastoreItem>
</file>

<file path=customXml/itemProps3.xml><?xml version="1.0" encoding="utf-8"?>
<ds:datastoreItem xmlns:ds="http://schemas.openxmlformats.org/officeDocument/2006/customXml" ds:itemID="{4639FFAC-55D9-4434-BCF0-AC2B853C2C49}">
  <ds:schemaRefs>
    <ds:schemaRef ds:uri="Strauss.PersonalizationDefinition"/>
  </ds:schemaRefs>
</ds:datastoreItem>
</file>

<file path=customXml/itemProps4.xml><?xml version="1.0" encoding="utf-8"?>
<ds:datastoreItem xmlns:ds="http://schemas.openxmlformats.org/officeDocument/2006/customXml" ds:itemID="{B8030BE1-CD21-4E76-B2E2-A06D900556AA}">
  <ds:schemaRefs>
    <ds:schemaRef ds:uri="Strauss.PersonalizationDefinition"/>
  </ds:schemaRefs>
</ds:datastoreItem>
</file>

<file path=customXml/itemProps5.xml><?xml version="1.0" encoding="utf-8"?>
<ds:datastoreItem xmlns:ds="http://schemas.openxmlformats.org/officeDocument/2006/customXml" ds:itemID="{D90DEB8C-C00E-4B1C-B45B-737A9292CE09}">
  <ds:schemaRefs>
    <ds:schemaRef ds:uri="Strauss.PersonalizationDefinition"/>
  </ds:schemaRefs>
</ds:datastoreItem>
</file>

<file path=customXml/itemProps6.xml><?xml version="1.0" encoding="utf-8"?>
<ds:datastoreItem xmlns:ds="http://schemas.openxmlformats.org/officeDocument/2006/customXml" ds:itemID="{E163F619-7E5B-423F-B926-CDF6A9A23149}">
  <ds:schemaRefs>
    <ds:schemaRef ds:uri="Strauss.PersonalizationDefinition"/>
  </ds:schemaRefs>
</ds:datastoreItem>
</file>

<file path=customXml/itemProps7.xml><?xml version="1.0" encoding="utf-8"?>
<ds:datastoreItem xmlns:ds="http://schemas.openxmlformats.org/officeDocument/2006/customXml" ds:itemID="{C412598E-BF43-4F55-B1FB-DC8EF944E888}">
  <ds:schemaRefs>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http://purl.org/dc/dcmitype/"/>
    <ds:schemaRef ds:uri="http://purl.org/dc/elements/1.1/"/>
    <ds:schemaRef ds:uri="b66b6bb9-0c3b-4baf-b7e0-24038b18f231"/>
    <ds:schemaRef ds:uri="http://schemas.microsoft.com/office/2006/metadata/properties"/>
    <ds:schemaRef ds:uri="0b15a96f-9efd-4f0c-b199-c53b2a01cb9d"/>
    <ds:schemaRef ds:uri="http://schemas.microsoft.com/sharepoint/v3"/>
    <ds:schemaRef ds:uri="http://www.w3.org/XML/1998/namespace"/>
  </ds:schemaRefs>
</ds:datastoreItem>
</file>

<file path=customXml/itemProps8.xml><?xml version="1.0" encoding="utf-8"?>
<ds:datastoreItem xmlns:ds="http://schemas.openxmlformats.org/officeDocument/2006/customXml" ds:itemID="{81884E99-FE7C-4B12-87E8-42EBCAF5525B}">
  <ds:schemaRefs>
    <ds:schemaRef ds:uri="Strauss.PersonalizationDefinition"/>
  </ds:schemaRefs>
</ds:datastoreItem>
</file>

<file path=customXml/itemProps9.xml><?xml version="1.0" encoding="utf-8"?>
<ds:datastoreItem xmlns:ds="http://schemas.openxmlformats.org/officeDocument/2006/customXml" ds:itemID="{27B871C0-5D7E-44C4-9AE5-831CC5C914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428</TotalTime>
  <Words>523</Words>
  <Application>Microsoft Office PowerPoint</Application>
  <PresentationFormat>Widescreen</PresentationFormat>
  <Paragraphs>119</Paragraphs>
  <Slides>14</Slides>
  <Notes>14</Notes>
  <HiddenSlides>0</HiddenSlides>
  <MMClips>0</MMClips>
  <ScaleCrop>false</ScaleCrop>
  <HeadingPairs>
    <vt:vector size="6" baseType="variant">
      <vt:variant>
        <vt:lpstr>Fonts Used</vt:lpstr>
      </vt:variant>
      <vt:variant>
        <vt:i4>12</vt:i4>
      </vt:variant>
      <vt:variant>
        <vt:lpstr>Theme</vt:lpstr>
      </vt:variant>
      <vt:variant>
        <vt:i4>3</vt:i4>
      </vt:variant>
      <vt:variant>
        <vt:lpstr>Slide Titles</vt:lpstr>
      </vt:variant>
      <vt:variant>
        <vt:i4>14</vt:i4>
      </vt:variant>
    </vt:vector>
  </HeadingPairs>
  <TitlesOfParts>
    <vt:vector size="29" baseType="lpstr">
      <vt:lpstr>NSimSun</vt:lpstr>
      <vt:lpstr>&amp;quot</vt:lpstr>
      <vt:lpstr>Arial</vt:lpstr>
      <vt:lpstr>Calibri</vt:lpstr>
      <vt:lpstr>Calibri Light</vt:lpstr>
      <vt:lpstr>Century Gothic</vt:lpstr>
      <vt:lpstr>Comic Sans MS</vt:lpstr>
      <vt:lpstr>Consolas</vt:lpstr>
      <vt:lpstr>Lucida Console</vt:lpstr>
      <vt:lpstr>Segoe UI</vt:lpstr>
      <vt:lpstr>Segoe UI Semibold</vt:lpstr>
      <vt:lpstr>Wingdings</vt:lpstr>
      <vt:lpstr>Workshop</vt:lpstr>
      <vt:lpstr>1_Dark Blue</vt:lpstr>
      <vt:lpstr>1_PASS 2013_SpeakerTemplate_Final</vt:lpstr>
      <vt:lpstr>WorkshopPLUS –  SQL Server: Performance Tuning and Optimization</vt:lpstr>
      <vt:lpstr>PowerPoint Presentation</vt:lpstr>
      <vt:lpstr>Agenda Day 1</vt:lpstr>
      <vt:lpstr>Agenda Day 2 </vt:lpstr>
      <vt:lpstr>Agenda Day 3</vt:lpstr>
      <vt:lpstr>Agenda Day 4</vt:lpstr>
      <vt:lpstr>Additional Review</vt:lpstr>
      <vt:lpstr>Class Resources</vt:lpstr>
      <vt:lpstr>Launch Lab</vt:lpstr>
      <vt:lpstr>Lab environment</vt:lpstr>
      <vt:lpstr>Lab environment </vt:lpstr>
      <vt:lpstr>Lab Time Remaining</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artijn van Geffen</dc:creator>
  <cp:lastModifiedBy>John Deardurff</cp:lastModifiedBy>
  <cp:revision>40</cp:revision>
  <dcterms:created xsi:type="dcterms:W3CDTF">2019-01-14T09:17:39Z</dcterms:created>
  <dcterms:modified xsi:type="dcterms:W3CDTF">2022-11-10T17:3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devidt@microsoft.com</vt:lpwstr>
  </property>
  <property fmtid="{D5CDD505-2E9C-101B-9397-08002B2CF9AE}" pid="6" name="MSIP_Label_f42aa342-8706-4288-bd11-ebb85995028c_SetDate">
    <vt:lpwstr>2019-09-20T09:39:24.4097518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205c0ddf-f806-4af5-8105-3c14fbe37948</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